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0.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25.xml" ContentType="application/vnd.openxmlformats-officedocument.presentationml.tags+xml"/>
  <Override PartName="/ppt/tags/tag26.xml" ContentType="application/vnd.openxmlformats-officedocument.presentationml.tags+xml"/>
  <Override PartName="/ppt/notesSlides/notesSlide16.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29.xml" ContentType="application/vnd.openxmlformats-officedocument.presentationml.tags+xml"/>
  <Override PartName="/ppt/tags/tag30.xml" ContentType="application/vnd.openxmlformats-officedocument.presentationml.tags+xml"/>
  <Override PartName="/ppt/notesSlides/notesSlide20.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9"/>
  </p:notesMasterIdLst>
  <p:sldIdLst>
    <p:sldId id="2147470736" r:id="rId5"/>
    <p:sldId id="2147470738" r:id="rId6"/>
    <p:sldId id="2147471002" r:id="rId7"/>
    <p:sldId id="2147471029" r:id="rId8"/>
    <p:sldId id="2147471031" r:id="rId9"/>
    <p:sldId id="2147470999" r:id="rId10"/>
    <p:sldId id="2147470972" r:id="rId11"/>
    <p:sldId id="2147471001" r:id="rId12"/>
    <p:sldId id="2147471023" r:id="rId13"/>
    <p:sldId id="2147470966" r:id="rId14"/>
    <p:sldId id="2147470995" r:id="rId15"/>
    <p:sldId id="2147471035" r:id="rId16"/>
    <p:sldId id="2147471000" r:id="rId17"/>
    <p:sldId id="2147470932" r:id="rId18"/>
    <p:sldId id="2147471027" r:id="rId19"/>
    <p:sldId id="2147470933" r:id="rId20"/>
    <p:sldId id="2147471032" r:id="rId21"/>
    <p:sldId id="2147471028" r:id="rId22"/>
    <p:sldId id="2147470993" r:id="rId23"/>
    <p:sldId id="2147470939" r:id="rId24"/>
    <p:sldId id="2147470942" r:id="rId25"/>
    <p:sldId id="2147471036" r:id="rId26"/>
    <p:sldId id="2147470940" r:id="rId27"/>
    <p:sldId id="2147470986" r:id="rId28"/>
  </p:sldIdLst>
  <p:sldSz cx="12192000" cy="6858000"/>
  <p:notesSz cx="6858000" cy="9144000"/>
  <p:defaultTextStyle>
    <a:defPPr>
      <a:defRPr lang="es-P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E BDO CONSULTING 21" initials="UB" lastIdx="1" clrIdx="0">
    <p:extLst>
      <p:ext uri="{19B8F6BF-5375-455C-9EA6-DF929625EA0E}">
        <p15:presenceInfo xmlns:p15="http://schemas.microsoft.com/office/powerpoint/2012/main" userId="S::uebdocons21@minsur.com::64d019fc-7128-4c80-8e54-2d25144a0bf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9999"/>
    <a:srgbClr val="003399"/>
    <a:srgbClr val="3333FF"/>
    <a:srgbClr val="FF5324"/>
    <a:srgbClr val="00CC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A0C1142-7DE4-8E81-C070-83E42EE6B137}" v="281" dt="2025-09-16T14:07:58.527"/>
    <p1510:client id="{FABB71DB-3912-8C04-D61C-CDC875953A32}" v="50" dt="2025-09-17T14:30:34.841"/>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132" autoAdjust="0"/>
    <p:restoredTop sz="94660"/>
  </p:normalViewPr>
  <p:slideViewPr>
    <p:cSldViewPr snapToGrid="0">
      <p:cViewPr>
        <p:scale>
          <a:sx n="50" d="100"/>
          <a:sy n="50" d="100"/>
        </p:scale>
        <p:origin x="1332" y="35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commentAuthors" Target="commentAuthors.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UE BDO CONSULTING 21" userId="S::uebdocons21@minsur.com::64d019fc-7128-4c80-8e54-2d25144a0bf8" providerId="AD" clId="Web-{14CEB09C-4F5F-CCE5-2440-CA0F7FF17361}"/>
    <pc:docChg chg="addSld">
      <pc:chgData name="UE BDO CONSULTING 21" userId="S::uebdocons21@minsur.com::64d019fc-7128-4c80-8e54-2d25144a0bf8" providerId="AD" clId="Web-{14CEB09C-4F5F-CCE5-2440-CA0F7FF17361}" dt="2025-08-29T21:42:08.174" v="0"/>
      <pc:docMkLst>
        <pc:docMk/>
      </pc:docMkLst>
      <pc:sldChg chg="add">
        <pc:chgData name="UE BDO CONSULTING 21" userId="S::uebdocons21@minsur.com::64d019fc-7128-4c80-8e54-2d25144a0bf8" providerId="AD" clId="Web-{14CEB09C-4F5F-CCE5-2440-CA0F7FF17361}" dt="2025-08-29T21:42:08.174" v="0"/>
        <pc:sldMkLst>
          <pc:docMk/>
          <pc:sldMk cId="4008782337" sldId="2147471036"/>
        </pc:sldMkLst>
      </pc:sldChg>
    </pc:docChg>
  </pc:docChgLst>
  <pc:docChgLst>
    <pc:chgData name="UE BDO CONSULTING 21" userId="S::uebdocons21@minsur.com::64d019fc-7128-4c80-8e54-2d25144a0bf8" providerId="AD" clId="Web-{BA0C1142-7DE4-8E81-C070-83E42EE6B137}"/>
    <pc:docChg chg="modSld">
      <pc:chgData name="UE BDO CONSULTING 21" userId="S::uebdocons21@minsur.com::64d019fc-7128-4c80-8e54-2d25144a0bf8" providerId="AD" clId="Web-{BA0C1142-7DE4-8E81-C070-83E42EE6B137}" dt="2025-09-16T14:07:58.527" v="135" actId="1076"/>
      <pc:docMkLst>
        <pc:docMk/>
      </pc:docMkLst>
      <pc:sldChg chg="modSp">
        <pc:chgData name="UE BDO CONSULTING 21" userId="S::uebdocons21@minsur.com::64d019fc-7128-4c80-8e54-2d25144a0bf8" providerId="AD" clId="Web-{BA0C1142-7DE4-8E81-C070-83E42EE6B137}" dt="2025-09-16T14:06:24.132" v="33" actId="20577"/>
        <pc:sldMkLst>
          <pc:docMk/>
          <pc:sldMk cId="3624064337" sldId="2147470972"/>
        </pc:sldMkLst>
        <pc:spChg chg="mod">
          <ac:chgData name="UE BDO CONSULTING 21" userId="S::uebdocons21@minsur.com::64d019fc-7128-4c80-8e54-2d25144a0bf8" providerId="AD" clId="Web-{BA0C1142-7DE4-8E81-C070-83E42EE6B137}" dt="2025-09-16T14:06:24.132" v="33" actId="20577"/>
          <ac:spMkLst>
            <pc:docMk/>
            <pc:sldMk cId="3624064337" sldId="2147470972"/>
            <ac:spMk id="63" creationId="{20DAA9E7-382C-DC7B-98A3-EF7FBF42E8CD}"/>
          </ac:spMkLst>
        </pc:spChg>
        <pc:spChg chg="mod">
          <ac:chgData name="UE BDO CONSULTING 21" userId="S::uebdocons21@minsur.com::64d019fc-7128-4c80-8e54-2d25144a0bf8" providerId="AD" clId="Web-{BA0C1142-7DE4-8E81-C070-83E42EE6B137}" dt="2025-09-16T14:05:55.365" v="2"/>
          <ac:spMkLst>
            <pc:docMk/>
            <pc:sldMk cId="3624064337" sldId="2147470972"/>
            <ac:spMk id="64" creationId="{1D0BC510-5341-B0E8-3243-CACC43B7C16A}"/>
          </ac:spMkLst>
        </pc:spChg>
      </pc:sldChg>
      <pc:sldChg chg="addSp modSp">
        <pc:chgData name="UE BDO CONSULTING 21" userId="S::uebdocons21@minsur.com::64d019fc-7128-4c80-8e54-2d25144a0bf8" providerId="AD" clId="Web-{BA0C1142-7DE4-8E81-C070-83E42EE6B137}" dt="2025-09-16T14:07:58.527" v="135" actId="1076"/>
        <pc:sldMkLst>
          <pc:docMk/>
          <pc:sldMk cId="3663097006" sldId="2147471035"/>
        </pc:sldMkLst>
        <pc:spChg chg="add mod">
          <ac:chgData name="UE BDO CONSULTING 21" userId="S::uebdocons21@minsur.com::64d019fc-7128-4c80-8e54-2d25144a0bf8" providerId="AD" clId="Web-{BA0C1142-7DE4-8E81-C070-83E42EE6B137}" dt="2025-09-16T14:07:58.527" v="135" actId="1076"/>
          <ac:spMkLst>
            <pc:docMk/>
            <pc:sldMk cId="3663097006" sldId="2147471035"/>
            <ac:spMk id="7" creationId="{9D43A611-CB7F-8E72-24FD-1437A6F73BDA}"/>
          </ac:spMkLst>
        </pc:spChg>
      </pc:sldChg>
    </pc:docChg>
  </pc:docChgLst>
  <pc:docChgLst>
    <pc:chgData name="UE BDO CONSULTING 21" userId="S::uebdocons21@minsur.com::64d019fc-7128-4c80-8e54-2d25144a0bf8" providerId="AD" clId="Web-{FABB71DB-3912-8C04-D61C-CDC875953A32}"/>
    <pc:docChg chg="modSld">
      <pc:chgData name="UE BDO CONSULTING 21" userId="S::uebdocons21@minsur.com::64d019fc-7128-4c80-8e54-2d25144a0bf8" providerId="AD" clId="Web-{FABB71DB-3912-8C04-D61C-CDC875953A32}" dt="2025-09-17T14:30:33.888" v="22" actId="20577"/>
      <pc:docMkLst>
        <pc:docMk/>
      </pc:docMkLst>
      <pc:sldChg chg="modSp">
        <pc:chgData name="UE BDO CONSULTING 21" userId="S::uebdocons21@minsur.com::64d019fc-7128-4c80-8e54-2d25144a0bf8" providerId="AD" clId="Web-{FABB71DB-3912-8C04-D61C-CDC875953A32}" dt="2025-09-17T14:30:33.888" v="22" actId="20577"/>
        <pc:sldMkLst>
          <pc:docMk/>
          <pc:sldMk cId="3624064337" sldId="2147470972"/>
        </pc:sldMkLst>
        <pc:spChg chg="mod">
          <ac:chgData name="UE BDO CONSULTING 21" userId="S::uebdocons21@minsur.com::64d019fc-7128-4c80-8e54-2d25144a0bf8" providerId="AD" clId="Web-{FABB71DB-3912-8C04-D61C-CDC875953A32}" dt="2025-09-17T14:30:33.888" v="22" actId="20577"/>
          <ac:spMkLst>
            <pc:docMk/>
            <pc:sldMk cId="3624064337" sldId="2147470972"/>
            <ac:spMk id="63" creationId="{20DAA9E7-382C-DC7B-98A3-EF7FBF42E8CD}"/>
          </ac:spMkLst>
        </pc:spChg>
      </pc:sldChg>
      <pc:sldChg chg="modSp">
        <pc:chgData name="UE BDO CONSULTING 21" userId="S::uebdocons21@minsur.com::64d019fc-7128-4c80-8e54-2d25144a0bf8" providerId="AD" clId="Web-{FABB71DB-3912-8C04-D61C-CDC875953A32}" dt="2025-09-17T13:55:02.630" v="8" actId="20577"/>
        <pc:sldMkLst>
          <pc:docMk/>
          <pc:sldMk cId="2729518853" sldId="2147471023"/>
        </pc:sldMkLst>
        <pc:spChg chg="mod">
          <ac:chgData name="UE BDO CONSULTING 21" userId="S::uebdocons21@minsur.com::64d019fc-7128-4c80-8e54-2d25144a0bf8" providerId="AD" clId="Web-{FABB71DB-3912-8C04-D61C-CDC875953A32}" dt="2025-09-17T13:55:02.630" v="8" actId="20577"/>
          <ac:spMkLst>
            <pc:docMk/>
            <pc:sldMk cId="2729518853" sldId="2147471023"/>
            <ac:spMk id="19" creationId="{AD963246-FAC9-8F7B-6B70-AAEB80013DB5}"/>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FE9538B-A563-4B7E-A659-15B48BE66A1F}" type="doc">
      <dgm:prSet loTypeId="urn:microsoft.com/office/officeart/2005/8/layout/cycle8" loCatId="cycle" qsTypeId="urn:microsoft.com/office/officeart/2005/8/quickstyle/simple1" qsCatId="simple" csTypeId="urn:microsoft.com/office/officeart/2005/8/colors/accent1_2" csCatId="accent1" phldr="1"/>
      <dgm:spPr/>
      <dgm:t>
        <a:bodyPr/>
        <a:lstStyle/>
        <a:p>
          <a:endParaRPr lang="es-PE"/>
        </a:p>
      </dgm:t>
    </dgm:pt>
    <dgm:pt modelId="{D0758817-2474-4CBE-A061-ED3BDA76C7C9}">
      <dgm:prSet phldrT="[Texto]" custT="1"/>
      <dgm:spPr/>
      <dgm:t>
        <a:bodyPr/>
        <a:lstStyle/>
        <a:p>
          <a:r>
            <a:rPr lang="es-MX" sz="2000" dirty="0"/>
            <a:t>Completitud</a:t>
          </a:r>
          <a:endParaRPr lang="es-PE" sz="2000" dirty="0"/>
        </a:p>
      </dgm:t>
    </dgm:pt>
    <dgm:pt modelId="{73C142B5-1F9F-469D-91BC-E9B9157D23E5}" type="parTrans" cxnId="{54B55EB0-BAB3-496E-8F96-E18B4357037D}">
      <dgm:prSet/>
      <dgm:spPr/>
      <dgm:t>
        <a:bodyPr/>
        <a:lstStyle/>
        <a:p>
          <a:endParaRPr lang="es-PE" sz="2000"/>
        </a:p>
      </dgm:t>
    </dgm:pt>
    <dgm:pt modelId="{E00AF216-6F63-4B48-839F-7C4A41CC5B9C}" type="sibTrans" cxnId="{54B55EB0-BAB3-496E-8F96-E18B4357037D}">
      <dgm:prSet/>
      <dgm:spPr/>
      <dgm:t>
        <a:bodyPr/>
        <a:lstStyle/>
        <a:p>
          <a:endParaRPr lang="es-PE" sz="2000"/>
        </a:p>
      </dgm:t>
    </dgm:pt>
    <dgm:pt modelId="{B675C8BC-E713-4CE7-8821-D20807E1DB90}">
      <dgm:prSet phldrT="[Texto]" custT="1"/>
      <dgm:spPr/>
      <dgm:t>
        <a:bodyPr/>
        <a:lstStyle/>
        <a:p>
          <a:r>
            <a:rPr lang="es-MX" sz="2000" dirty="0"/>
            <a:t>Validez</a:t>
          </a:r>
          <a:endParaRPr lang="es-PE" sz="2000" dirty="0"/>
        </a:p>
      </dgm:t>
    </dgm:pt>
    <dgm:pt modelId="{AD3C547D-542C-4E17-B982-AA6A901F00F6}" type="parTrans" cxnId="{0A113909-4225-4F61-BD7F-22A863AD354A}">
      <dgm:prSet/>
      <dgm:spPr/>
      <dgm:t>
        <a:bodyPr/>
        <a:lstStyle/>
        <a:p>
          <a:endParaRPr lang="es-PE" sz="2000"/>
        </a:p>
      </dgm:t>
    </dgm:pt>
    <dgm:pt modelId="{CF43CC37-4DF4-4677-BA12-488D55310909}" type="sibTrans" cxnId="{0A113909-4225-4F61-BD7F-22A863AD354A}">
      <dgm:prSet/>
      <dgm:spPr/>
      <dgm:t>
        <a:bodyPr/>
        <a:lstStyle/>
        <a:p>
          <a:endParaRPr lang="es-PE" sz="2000"/>
        </a:p>
      </dgm:t>
    </dgm:pt>
    <dgm:pt modelId="{DE2E7361-3EE6-4248-9B06-0C5701AB671D}">
      <dgm:prSet phldrT="[Texto]" custT="1"/>
      <dgm:spPr/>
      <dgm:t>
        <a:bodyPr/>
        <a:lstStyle/>
        <a:p>
          <a:r>
            <a:rPr lang="es-MX" sz="2000" dirty="0"/>
            <a:t>Consistencia</a:t>
          </a:r>
          <a:endParaRPr lang="es-PE" sz="2000" dirty="0"/>
        </a:p>
      </dgm:t>
    </dgm:pt>
    <dgm:pt modelId="{550EA1C2-0751-4D64-89FF-8700A2810D95}" type="parTrans" cxnId="{5E2C7516-288B-40BE-B7D9-668F1D14A5D9}">
      <dgm:prSet/>
      <dgm:spPr/>
      <dgm:t>
        <a:bodyPr/>
        <a:lstStyle/>
        <a:p>
          <a:endParaRPr lang="es-PE" sz="2000"/>
        </a:p>
      </dgm:t>
    </dgm:pt>
    <dgm:pt modelId="{0DA97E23-1ADC-4AF0-ACB1-ADA4343DEED6}" type="sibTrans" cxnId="{5E2C7516-288B-40BE-B7D9-668F1D14A5D9}">
      <dgm:prSet/>
      <dgm:spPr/>
      <dgm:t>
        <a:bodyPr/>
        <a:lstStyle/>
        <a:p>
          <a:endParaRPr lang="es-PE" sz="2000"/>
        </a:p>
      </dgm:t>
    </dgm:pt>
    <dgm:pt modelId="{0FB66770-A25C-40EB-AF4E-98609A8A14AC}">
      <dgm:prSet phldrT="[Texto]" custT="1"/>
      <dgm:spPr/>
      <dgm:t>
        <a:bodyPr/>
        <a:lstStyle/>
        <a:p>
          <a:r>
            <a:rPr lang="es-MX" sz="2000" dirty="0"/>
            <a:t>Exactitud</a:t>
          </a:r>
          <a:endParaRPr lang="es-PE" sz="2000" dirty="0"/>
        </a:p>
      </dgm:t>
    </dgm:pt>
    <dgm:pt modelId="{B6957C15-2902-4050-B847-111C1A9CAB78}" type="parTrans" cxnId="{AAAE0304-9FDD-4EF3-971E-89229BA7BC31}">
      <dgm:prSet/>
      <dgm:spPr/>
      <dgm:t>
        <a:bodyPr/>
        <a:lstStyle/>
        <a:p>
          <a:endParaRPr lang="es-PE" sz="2000"/>
        </a:p>
      </dgm:t>
    </dgm:pt>
    <dgm:pt modelId="{B4D8BCE3-063E-42E0-93C4-6120C59B79C6}" type="sibTrans" cxnId="{AAAE0304-9FDD-4EF3-971E-89229BA7BC31}">
      <dgm:prSet/>
      <dgm:spPr/>
      <dgm:t>
        <a:bodyPr/>
        <a:lstStyle/>
        <a:p>
          <a:endParaRPr lang="es-PE" sz="2000"/>
        </a:p>
      </dgm:t>
    </dgm:pt>
    <dgm:pt modelId="{AE96118B-3C7E-49A4-80DC-93388E4599F7}" type="pres">
      <dgm:prSet presAssocID="{BFE9538B-A563-4B7E-A659-15B48BE66A1F}" presName="compositeShape" presStyleCnt="0">
        <dgm:presLayoutVars>
          <dgm:chMax val="7"/>
          <dgm:dir/>
          <dgm:resizeHandles val="exact"/>
        </dgm:presLayoutVars>
      </dgm:prSet>
      <dgm:spPr/>
    </dgm:pt>
    <dgm:pt modelId="{40956B8F-2D73-41EA-8CF6-74A2F5DD8F68}" type="pres">
      <dgm:prSet presAssocID="{BFE9538B-A563-4B7E-A659-15B48BE66A1F}" presName="wedge1" presStyleLbl="node1" presStyleIdx="0" presStyleCnt="4"/>
      <dgm:spPr/>
    </dgm:pt>
    <dgm:pt modelId="{3EA3BA11-938F-4BAC-BAE7-BF039CA61D00}" type="pres">
      <dgm:prSet presAssocID="{BFE9538B-A563-4B7E-A659-15B48BE66A1F}" presName="dummy1a" presStyleCnt="0"/>
      <dgm:spPr/>
    </dgm:pt>
    <dgm:pt modelId="{6732B47D-B9E2-40BF-AD16-537A8E7BEFAE}" type="pres">
      <dgm:prSet presAssocID="{BFE9538B-A563-4B7E-A659-15B48BE66A1F}" presName="dummy1b" presStyleCnt="0"/>
      <dgm:spPr/>
    </dgm:pt>
    <dgm:pt modelId="{40624B91-69E3-4561-9482-A16C58EB76F2}" type="pres">
      <dgm:prSet presAssocID="{BFE9538B-A563-4B7E-A659-15B48BE66A1F}" presName="wedge1Tx" presStyleLbl="node1" presStyleIdx="0" presStyleCnt="4">
        <dgm:presLayoutVars>
          <dgm:chMax val="0"/>
          <dgm:chPref val="0"/>
          <dgm:bulletEnabled val="1"/>
        </dgm:presLayoutVars>
      </dgm:prSet>
      <dgm:spPr/>
    </dgm:pt>
    <dgm:pt modelId="{6DF4E979-17E9-4A06-82DC-81DAFBCC49F1}" type="pres">
      <dgm:prSet presAssocID="{BFE9538B-A563-4B7E-A659-15B48BE66A1F}" presName="wedge2" presStyleLbl="node1" presStyleIdx="1" presStyleCnt="4"/>
      <dgm:spPr/>
    </dgm:pt>
    <dgm:pt modelId="{4A9DF65D-7959-4578-B5F6-685B32B07F4B}" type="pres">
      <dgm:prSet presAssocID="{BFE9538B-A563-4B7E-A659-15B48BE66A1F}" presName="dummy2a" presStyleCnt="0"/>
      <dgm:spPr/>
    </dgm:pt>
    <dgm:pt modelId="{02FEE6B4-3AB4-4499-AEE3-F5D86DB4033E}" type="pres">
      <dgm:prSet presAssocID="{BFE9538B-A563-4B7E-A659-15B48BE66A1F}" presName="dummy2b" presStyleCnt="0"/>
      <dgm:spPr/>
    </dgm:pt>
    <dgm:pt modelId="{B45600FA-02EC-4C1D-AA22-4B140662C6F0}" type="pres">
      <dgm:prSet presAssocID="{BFE9538B-A563-4B7E-A659-15B48BE66A1F}" presName="wedge2Tx" presStyleLbl="node1" presStyleIdx="1" presStyleCnt="4">
        <dgm:presLayoutVars>
          <dgm:chMax val="0"/>
          <dgm:chPref val="0"/>
          <dgm:bulletEnabled val="1"/>
        </dgm:presLayoutVars>
      </dgm:prSet>
      <dgm:spPr/>
    </dgm:pt>
    <dgm:pt modelId="{D8F6E7FD-9D3E-4939-910C-3FFF79E68BC7}" type="pres">
      <dgm:prSet presAssocID="{BFE9538B-A563-4B7E-A659-15B48BE66A1F}" presName="wedge3" presStyleLbl="node1" presStyleIdx="2" presStyleCnt="4"/>
      <dgm:spPr/>
    </dgm:pt>
    <dgm:pt modelId="{16CAE985-AC34-4363-9418-06587F37C533}" type="pres">
      <dgm:prSet presAssocID="{BFE9538B-A563-4B7E-A659-15B48BE66A1F}" presName="dummy3a" presStyleCnt="0"/>
      <dgm:spPr/>
    </dgm:pt>
    <dgm:pt modelId="{8641FD1F-1AAB-480B-B3E1-85657E5AFA05}" type="pres">
      <dgm:prSet presAssocID="{BFE9538B-A563-4B7E-A659-15B48BE66A1F}" presName="dummy3b" presStyleCnt="0"/>
      <dgm:spPr/>
    </dgm:pt>
    <dgm:pt modelId="{0F438E0B-9E9D-4FE1-94FB-F5C55DB915BB}" type="pres">
      <dgm:prSet presAssocID="{BFE9538B-A563-4B7E-A659-15B48BE66A1F}" presName="wedge3Tx" presStyleLbl="node1" presStyleIdx="2" presStyleCnt="4">
        <dgm:presLayoutVars>
          <dgm:chMax val="0"/>
          <dgm:chPref val="0"/>
          <dgm:bulletEnabled val="1"/>
        </dgm:presLayoutVars>
      </dgm:prSet>
      <dgm:spPr/>
    </dgm:pt>
    <dgm:pt modelId="{F41811DE-5969-462F-86D9-67DE99BAFBCB}" type="pres">
      <dgm:prSet presAssocID="{BFE9538B-A563-4B7E-A659-15B48BE66A1F}" presName="wedge4" presStyleLbl="node1" presStyleIdx="3" presStyleCnt="4"/>
      <dgm:spPr/>
    </dgm:pt>
    <dgm:pt modelId="{8FE4BA65-DD60-4571-9DF6-DE26CAC40085}" type="pres">
      <dgm:prSet presAssocID="{BFE9538B-A563-4B7E-A659-15B48BE66A1F}" presName="dummy4a" presStyleCnt="0"/>
      <dgm:spPr/>
    </dgm:pt>
    <dgm:pt modelId="{A32A7AA1-C06E-4FC0-AB48-8328976901E9}" type="pres">
      <dgm:prSet presAssocID="{BFE9538B-A563-4B7E-A659-15B48BE66A1F}" presName="dummy4b" presStyleCnt="0"/>
      <dgm:spPr/>
    </dgm:pt>
    <dgm:pt modelId="{611E8C04-C424-473F-8A10-C8F19A85D14B}" type="pres">
      <dgm:prSet presAssocID="{BFE9538B-A563-4B7E-A659-15B48BE66A1F}" presName="wedge4Tx" presStyleLbl="node1" presStyleIdx="3" presStyleCnt="4">
        <dgm:presLayoutVars>
          <dgm:chMax val="0"/>
          <dgm:chPref val="0"/>
          <dgm:bulletEnabled val="1"/>
        </dgm:presLayoutVars>
      </dgm:prSet>
      <dgm:spPr/>
    </dgm:pt>
    <dgm:pt modelId="{CDC4FD1C-18E9-49EB-A0EA-BE699BC4D44A}" type="pres">
      <dgm:prSet presAssocID="{E00AF216-6F63-4B48-839F-7C4A41CC5B9C}" presName="arrowWedge1" presStyleLbl="fgSibTrans2D1" presStyleIdx="0" presStyleCnt="4"/>
      <dgm:spPr/>
    </dgm:pt>
    <dgm:pt modelId="{F25E96C6-C2E2-4679-A72D-1DF3C0D01DEB}" type="pres">
      <dgm:prSet presAssocID="{CF43CC37-4DF4-4677-BA12-488D55310909}" presName="arrowWedge2" presStyleLbl="fgSibTrans2D1" presStyleIdx="1" presStyleCnt="4"/>
      <dgm:spPr/>
    </dgm:pt>
    <dgm:pt modelId="{E2359A74-4438-4920-9C4C-FF935356EE99}" type="pres">
      <dgm:prSet presAssocID="{0DA97E23-1ADC-4AF0-ACB1-ADA4343DEED6}" presName="arrowWedge3" presStyleLbl="fgSibTrans2D1" presStyleIdx="2" presStyleCnt="4"/>
      <dgm:spPr/>
    </dgm:pt>
    <dgm:pt modelId="{BD06C4C7-0C18-4684-89DD-F71C78571CE3}" type="pres">
      <dgm:prSet presAssocID="{B4D8BCE3-063E-42E0-93C4-6120C59B79C6}" presName="arrowWedge4" presStyleLbl="fgSibTrans2D1" presStyleIdx="3" presStyleCnt="4"/>
      <dgm:spPr/>
    </dgm:pt>
  </dgm:ptLst>
  <dgm:cxnLst>
    <dgm:cxn modelId="{AAAE0304-9FDD-4EF3-971E-89229BA7BC31}" srcId="{BFE9538B-A563-4B7E-A659-15B48BE66A1F}" destId="{0FB66770-A25C-40EB-AF4E-98609A8A14AC}" srcOrd="3" destOrd="0" parTransId="{B6957C15-2902-4050-B847-111C1A9CAB78}" sibTransId="{B4D8BCE3-063E-42E0-93C4-6120C59B79C6}"/>
    <dgm:cxn modelId="{0A113909-4225-4F61-BD7F-22A863AD354A}" srcId="{BFE9538B-A563-4B7E-A659-15B48BE66A1F}" destId="{B675C8BC-E713-4CE7-8821-D20807E1DB90}" srcOrd="1" destOrd="0" parTransId="{AD3C547D-542C-4E17-B982-AA6A901F00F6}" sibTransId="{CF43CC37-4DF4-4677-BA12-488D55310909}"/>
    <dgm:cxn modelId="{FD66FA13-5DF0-48AF-B6B4-BCF215A968A9}" type="presOf" srcId="{D0758817-2474-4CBE-A061-ED3BDA76C7C9}" destId="{40956B8F-2D73-41EA-8CF6-74A2F5DD8F68}" srcOrd="0" destOrd="0" presId="urn:microsoft.com/office/officeart/2005/8/layout/cycle8"/>
    <dgm:cxn modelId="{5E2C7516-288B-40BE-B7D9-668F1D14A5D9}" srcId="{BFE9538B-A563-4B7E-A659-15B48BE66A1F}" destId="{DE2E7361-3EE6-4248-9B06-0C5701AB671D}" srcOrd="2" destOrd="0" parTransId="{550EA1C2-0751-4D64-89FF-8700A2810D95}" sibTransId="{0DA97E23-1ADC-4AF0-ACB1-ADA4343DEED6}"/>
    <dgm:cxn modelId="{CECB2220-EF55-4D95-A954-F26CA1020361}" type="presOf" srcId="{0FB66770-A25C-40EB-AF4E-98609A8A14AC}" destId="{F41811DE-5969-462F-86D9-67DE99BAFBCB}" srcOrd="0" destOrd="0" presId="urn:microsoft.com/office/officeart/2005/8/layout/cycle8"/>
    <dgm:cxn modelId="{E2485C6A-DF0C-40E9-BAE2-1BC829038764}" type="presOf" srcId="{B675C8BC-E713-4CE7-8821-D20807E1DB90}" destId="{6DF4E979-17E9-4A06-82DC-81DAFBCC49F1}" srcOrd="0" destOrd="0" presId="urn:microsoft.com/office/officeart/2005/8/layout/cycle8"/>
    <dgm:cxn modelId="{4ABD964D-3371-4236-8D85-66B1C9A6AF65}" type="presOf" srcId="{DE2E7361-3EE6-4248-9B06-0C5701AB671D}" destId="{0F438E0B-9E9D-4FE1-94FB-F5C55DB915BB}" srcOrd="1" destOrd="0" presId="urn:microsoft.com/office/officeart/2005/8/layout/cycle8"/>
    <dgm:cxn modelId="{A806EB82-F7E1-4702-9DE8-2620764E2350}" type="presOf" srcId="{D0758817-2474-4CBE-A061-ED3BDA76C7C9}" destId="{40624B91-69E3-4561-9482-A16C58EB76F2}" srcOrd="1" destOrd="0" presId="urn:microsoft.com/office/officeart/2005/8/layout/cycle8"/>
    <dgm:cxn modelId="{91129B93-15B1-4880-BA89-C41129052369}" type="presOf" srcId="{DE2E7361-3EE6-4248-9B06-0C5701AB671D}" destId="{D8F6E7FD-9D3E-4939-910C-3FFF79E68BC7}" srcOrd="0" destOrd="0" presId="urn:microsoft.com/office/officeart/2005/8/layout/cycle8"/>
    <dgm:cxn modelId="{14A9BFA8-EF02-4799-A0FF-E23FD849D722}" type="presOf" srcId="{B675C8BC-E713-4CE7-8821-D20807E1DB90}" destId="{B45600FA-02EC-4C1D-AA22-4B140662C6F0}" srcOrd="1" destOrd="0" presId="urn:microsoft.com/office/officeart/2005/8/layout/cycle8"/>
    <dgm:cxn modelId="{54B55EB0-BAB3-496E-8F96-E18B4357037D}" srcId="{BFE9538B-A563-4B7E-A659-15B48BE66A1F}" destId="{D0758817-2474-4CBE-A061-ED3BDA76C7C9}" srcOrd="0" destOrd="0" parTransId="{73C142B5-1F9F-469D-91BC-E9B9157D23E5}" sibTransId="{E00AF216-6F63-4B48-839F-7C4A41CC5B9C}"/>
    <dgm:cxn modelId="{D94727DA-1801-4057-AF64-3E928F3B4CFD}" type="presOf" srcId="{0FB66770-A25C-40EB-AF4E-98609A8A14AC}" destId="{611E8C04-C424-473F-8A10-C8F19A85D14B}" srcOrd="1" destOrd="0" presId="urn:microsoft.com/office/officeart/2005/8/layout/cycle8"/>
    <dgm:cxn modelId="{B8D9ECDF-2126-4192-BEE0-6645660D6684}" type="presOf" srcId="{BFE9538B-A563-4B7E-A659-15B48BE66A1F}" destId="{AE96118B-3C7E-49A4-80DC-93388E4599F7}" srcOrd="0" destOrd="0" presId="urn:microsoft.com/office/officeart/2005/8/layout/cycle8"/>
    <dgm:cxn modelId="{43F09453-44E4-4202-A312-7D315F114528}" type="presParOf" srcId="{AE96118B-3C7E-49A4-80DC-93388E4599F7}" destId="{40956B8F-2D73-41EA-8CF6-74A2F5DD8F68}" srcOrd="0" destOrd="0" presId="urn:microsoft.com/office/officeart/2005/8/layout/cycle8"/>
    <dgm:cxn modelId="{7FE598BE-9E11-44D2-9660-9645FADC7998}" type="presParOf" srcId="{AE96118B-3C7E-49A4-80DC-93388E4599F7}" destId="{3EA3BA11-938F-4BAC-BAE7-BF039CA61D00}" srcOrd="1" destOrd="0" presId="urn:microsoft.com/office/officeart/2005/8/layout/cycle8"/>
    <dgm:cxn modelId="{F3FEE8E9-1446-428C-9235-B1639FAD1B47}" type="presParOf" srcId="{AE96118B-3C7E-49A4-80DC-93388E4599F7}" destId="{6732B47D-B9E2-40BF-AD16-537A8E7BEFAE}" srcOrd="2" destOrd="0" presId="urn:microsoft.com/office/officeart/2005/8/layout/cycle8"/>
    <dgm:cxn modelId="{D903CD9D-C4B1-4B51-915D-F5EE5FF26D9E}" type="presParOf" srcId="{AE96118B-3C7E-49A4-80DC-93388E4599F7}" destId="{40624B91-69E3-4561-9482-A16C58EB76F2}" srcOrd="3" destOrd="0" presId="urn:microsoft.com/office/officeart/2005/8/layout/cycle8"/>
    <dgm:cxn modelId="{FC151E87-C492-42F6-AF44-A07C3F13D7E3}" type="presParOf" srcId="{AE96118B-3C7E-49A4-80DC-93388E4599F7}" destId="{6DF4E979-17E9-4A06-82DC-81DAFBCC49F1}" srcOrd="4" destOrd="0" presId="urn:microsoft.com/office/officeart/2005/8/layout/cycle8"/>
    <dgm:cxn modelId="{52661B4C-26FC-4F27-8EC5-0E6A06D6868C}" type="presParOf" srcId="{AE96118B-3C7E-49A4-80DC-93388E4599F7}" destId="{4A9DF65D-7959-4578-B5F6-685B32B07F4B}" srcOrd="5" destOrd="0" presId="urn:microsoft.com/office/officeart/2005/8/layout/cycle8"/>
    <dgm:cxn modelId="{A1C5CC73-C2A2-498D-81EC-0619F006E092}" type="presParOf" srcId="{AE96118B-3C7E-49A4-80DC-93388E4599F7}" destId="{02FEE6B4-3AB4-4499-AEE3-F5D86DB4033E}" srcOrd="6" destOrd="0" presId="urn:microsoft.com/office/officeart/2005/8/layout/cycle8"/>
    <dgm:cxn modelId="{7A76EE33-199B-4F53-81FE-D83A70454176}" type="presParOf" srcId="{AE96118B-3C7E-49A4-80DC-93388E4599F7}" destId="{B45600FA-02EC-4C1D-AA22-4B140662C6F0}" srcOrd="7" destOrd="0" presId="urn:microsoft.com/office/officeart/2005/8/layout/cycle8"/>
    <dgm:cxn modelId="{C0552536-CA1A-47C0-B5F9-540BC07F6BC1}" type="presParOf" srcId="{AE96118B-3C7E-49A4-80DC-93388E4599F7}" destId="{D8F6E7FD-9D3E-4939-910C-3FFF79E68BC7}" srcOrd="8" destOrd="0" presId="urn:microsoft.com/office/officeart/2005/8/layout/cycle8"/>
    <dgm:cxn modelId="{0CED9E5A-4A3A-4FD7-89AC-70CC031BE2F4}" type="presParOf" srcId="{AE96118B-3C7E-49A4-80DC-93388E4599F7}" destId="{16CAE985-AC34-4363-9418-06587F37C533}" srcOrd="9" destOrd="0" presId="urn:microsoft.com/office/officeart/2005/8/layout/cycle8"/>
    <dgm:cxn modelId="{05AFDAD3-99DA-4C33-A6C5-EC1C2DBFF944}" type="presParOf" srcId="{AE96118B-3C7E-49A4-80DC-93388E4599F7}" destId="{8641FD1F-1AAB-480B-B3E1-85657E5AFA05}" srcOrd="10" destOrd="0" presId="urn:microsoft.com/office/officeart/2005/8/layout/cycle8"/>
    <dgm:cxn modelId="{A6BA0193-143E-4DBD-A4BE-D7F0424772DA}" type="presParOf" srcId="{AE96118B-3C7E-49A4-80DC-93388E4599F7}" destId="{0F438E0B-9E9D-4FE1-94FB-F5C55DB915BB}" srcOrd="11" destOrd="0" presId="urn:microsoft.com/office/officeart/2005/8/layout/cycle8"/>
    <dgm:cxn modelId="{873A6938-7BD7-458A-B287-0021383D114C}" type="presParOf" srcId="{AE96118B-3C7E-49A4-80DC-93388E4599F7}" destId="{F41811DE-5969-462F-86D9-67DE99BAFBCB}" srcOrd="12" destOrd="0" presId="urn:microsoft.com/office/officeart/2005/8/layout/cycle8"/>
    <dgm:cxn modelId="{54FAB0F0-7E19-4241-8237-69C5A45BEFED}" type="presParOf" srcId="{AE96118B-3C7E-49A4-80DC-93388E4599F7}" destId="{8FE4BA65-DD60-4571-9DF6-DE26CAC40085}" srcOrd="13" destOrd="0" presId="urn:microsoft.com/office/officeart/2005/8/layout/cycle8"/>
    <dgm:cxn modelId="{CC0F75CE-F22D-4DAC-B9E3-14899A62B6DB}" type="presParOf" srcId="{AE96118B-3C7E-49A4-80DC-93388E4599F7}" destId="{A32A7AA1-C06E-4FC0-AB48-8328976901E9}" srcOrd="14" destOrd="0" presId="urn:microsoft.com/office/officeart/2005/8/layout/cycle8"/>
    <dgm:cxn modelId="{098188D6-02C6-4B11-A2E3-3ACF0720E849}" type="presParOf" srcId="{AE96118B-3C7E-49A4-80DC-93388E4599F7}" destId="{611E8C04-C424-473F-8A10-C8F19A85D14B}" srcOrd="15" destOrd="0" presId="urn:microsoft.com/office/officeart/2005/8/layout/cycle8"/>
    <dgm:cxn modelId="{68207F76-AE50-49FA-9972-D62BD1A44E12}" type="presParOf" srcId="{AE96118B-3C7E-49A4-80DC-93388E4599F7}" destId="{CDC4FD1C-18E9-49EB-A0EA-BE699BC4D44A}" srcOrd="16" destOrd="0" presId="urn:microsoft.com/office/officeart/2005/8/layout/cycle8"/>
    <dgm:cxn modelId="{48E3C981-A6EE-4431-B377-AD03485617BD}" type="presParOf" srcId="{AE96118B-3C7E-49A4-80DC-93388E4599F7}" destId="{F25E96C6-C2E2-4679-A72D-1DF3C0D01DEB}" srcOrd="17" destOrd="0" presId="urn:microsoft.com/office/officeart/2005/8/layout/cycle8"/>
    <dgm:cxn modelId="{55AE432C-2E24-4694-A3E3-344C2BE57F2D}" type="presParOf" srcId="{AE96118B-3C7E-49A4-80DC-93388E4599F7}" destId="{E2359A74-4438-4920-9C4C-FF935356EE99}" srcOrd="18" destOrd="0" presId="urn:microsoft.com/office/officeart/2005/8/layout/cycle8"/>
    <dgm:cxn modelId="{CB66FF0E-B061-44AB-BAF3-E0A3C6AA45AA}" type="presParOf" srcId="{AE96118B-3C7E-49A4-80DC-93388E4599F7}" destId="{BD06C4C7-0C18-4684-89DD-F71C78571CE3}" srcOrd="19" destOrd="0" presId="urn:microsoft.com/office/officeart/2005/8/layout/cycle8"/>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E52D150-5998-4028-91B4-88C6D6E611C5}"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s-PE"/>
        </a:p>
      </dgm:t>
    </dgm:pt>
    <dgm:pt modelId="{3ED24ECD-BE87-4CB1-B2C3-EC225BC84503}">
      <dgm:prSet phldrT="[Texto]" custT="1"/>
      <dgm:spPr>
        <a:solidFill>
          <a:srgbClr val="009999"/>
        </a:solidFill>
      </dgm:spPr>
      <dgm:t>
        <a:bodyPr/>
        <a:lstStyle/>
        <a:p>
          <a:pPr algn="just"/>
          <a:r>
            <a:rPr lang="es-MX" sz="1800" dirty="0"/>
            <a:t>Define los metadatos de cada dataset a ingerir.</a:t>
          </a:r>
          <a:endParaRPr lang="es-PE" sz="1800" dirty="0"/>
        </a:p>
      </dgm:t>
    </dgm:pt>
    <dgm:pt modelId="{E7F586E4-FA91-4561-A41C-8FD3325B13E3}" type="parTrans" cxnId="{5E59FE03-3794-4E0C-945C-CFCADCB4F061}">
      <dgm:prSet/>
      <dgm:spPr/>
      <dgm:t>
        <a:bodyPr/>
        <a:lstStyle/>
        <a:p>
          <a:endParaRPr lang="es-PE" sz="1800"/>
        </a:p>
      </dgm:t>
    </dgm:pt>
    <dgm:pt modelId="{518E1B75-20C9-4C1C-96F8-5857750506D2}" type="sibTrans" cxnId="{5E59FE03-3794-4E0C-945C-CFCADCB4F061}">
      <dgm:prSet/>
      <dgm:spPr/>
      <dgm:t>
        <a:bodyPr/>
        <a:lstStyle/>
        <a:p>
          <a:endParaRPr lang="es-PE" sz="1800"/>
        </a:p>
      </dgm:t>
    </dgm:pt>
    <dgm:pt modelId="{AAC65004-BCDF-448D-A926-43DE43A3515B}">
      <dgm:prSet phldrT="[Texto]" custT="1"/>
      <dgm:spPr>
        <a:solidFill>
          <a:srgbClr val="009999"/>
        </a:solidFill>
      </dgm:spPr>
      <dgm:t>
        <a:bodyPr/>
        <a:lstStyle/>
        <a:p>
          <a:pPr algn="just">
            <a:buNone/>
          </a:pPr>
          <a:r>
            <a:rPr lang="es-PE" sz="1800" dirty="0"/>
            <a:t>Input para construir mapeos de ingesta y validaciones. </a:t>
          </a:r>
        </a:p>
      </dgm:t>
    </dgm:pt>
    <dgm:pt modelId="{FB487AAD-4808-499B-BC3B-D936D19A12C4}" type="parTrans" cxnId="{EB6607C5-92D8-4989-8274-7C843C6D6AE6}">
      <dgm:prSet/>
      <dgm:spPr/>
      <dgm:t>
        <a:bodyPr/>
        <a:lstStyle/>
        <a:p>
          <a:endParaRPr lang="es-PE" sz="1800"/>
        </a:p>
      </dgm:t>
    </dgm:pt>
    <dgm:pt modelId="{6E51D290-82E7-49CA-BDED-0AE5AD6B1A46}" type="sibTrans" cxnId="{EB6607C5-92D8-4989-8274-7C843C6D6AE6}">
      <dgm:prSet/>
      <dgm:spPr/>
      <dgm:t>
        <a:bodyPr/>
        <a:lstStyle/>
        <a:p>
          <a:endParaRPr lang="es-PE" sz="1800"/>
        </a:p>
      </dgm:t>
    </dgm:pt>
    <dgm:pt modelId="{1FD926C8-0656-4EB3-89D1-735EBBF367A1}">
      <dgm:prSet phldrT="[Texto]" custT="1"/>
      <dgm:spPr>
        <a:solidFill>
          <a:srgbClr val="009999"/>
        </a:solidFill>
      </dgm:spPr>
      <dgm:t>
        <a:bodyPr/>
        <a:lstStyle/>
        <a:p>
          <a:pPr algn="just">
            <a:buNone/>
          </a:pPr>
          <a:r>
            <a:rPr lang="es-PE" sz="1800" dirty="0"/>
            <a:t>Debe estar validado por el PO y almacenado en el repositorio corporativo.</a:t>
          </a:r>
        </a:p>
      </dgm:t>
    </dgm:pt>
    <dgm:pt modelId="{87CAD700-6674-4AF0-9528-A3EA2D6EA940}" type="parTrans" cxnId="{7D86539F-8101-4454-BA3D-CBB628794713}">
      <dgm:prSet/>
      <dgm:spPr/>
      <dgm:t>
        <a:bodyPr/>
        <a:lstStyle/>
        <a:p>
          <a:endParaRPr lang="es-PE" sz="1800"/>
        </a:p>
      </dgm:t>
    </dgm:pt>
    <dgm:pt modelId="{29FDB0A7-26F2-404C-8199-3BF39BC19D99}" type="sibTrans" cxnId="{7D86539F-8101-4454-BA3D-CBB628794713}">
      <dgm:prSet/>
      <dgm:spPr/>
      <dgm:t>
        <a:bodyPr/>
        <a:lstStyle/>
        <a:p>
          <a:endParaRPr lang="es-PE" sz="1800"/>
        </a:p>
      </dgm:t>
    </dgm:pt>
    <dgm:pt modelId="{3444698B-0D58-47B9-B47F-37E96D6D06DF}" type="pres">
      <dgm:prSet presAssocID="{5E52D150-5998-4028-91B4-88C6D6E611C5}" presName="linear" presStyleCnt="0">
        <dgm:presLayoutVars>
          <dgm:dir/>
          <dgm:animLvl val="lvl"/>
          <dgm:resizeHandles val="exact"/>
        </dgm:presLayoutVars>
      </dgm:prSet>
      <dgm:spPr/>
    </dgm:pt>
    <dgm:pt modelId="{31DFF6D3-53B8-45C0-BA21-545E847C8739}" type="pres">
      <dgm:prSet presAssocID="{3ED24ECD-BE87-4CB1-B2C3-EC225BC84503}" presName="parentLin" presStyleCnt="0"/>
      <dgm:spPr/>
    </dgm:pt>
    <dgm:pt modelId="{D0491A5E-BC8F-42ED-AE74-0803351A9D4D}" type="pres">
      <dgm:prSet presAssocID="{3ED24ECD-BE87-4CB1-B2C3-EC225BC84503}" presName="parentLeftMargin" presStyleLbl="node1" presStyleIdx="0" presStyleCnt="3"/>
      <dgm:spPr/>
    </dgm:pt>
    <dgm:pt modelId="{DBC3FD9C-E314-4323-9B7D-DDF7E6162B2C}" type="pres">
      <dgm:prSet presAssocID="{3ED24ECD-BE87-4CB1-B2C3-EC225BC84503}" presName="parentText" presStyleLbl="node1" presStyleIdx="0" presStyleCnt="3" custScaleX="132304">
        <dgm:presLayoutVars>
          <dgm:chMax val="0"/>
          <dgm:bulletEnabled val="1"/>
        </dgm:presLayoutVars>
      </dgm:prSet>
      <dgm:spPr/>
    </dgm:pt>
    <dgm:pt modelId="{3554B8FF-E8BD-483B-9498-4EA3530F4F9F}" type="pres">
      <dgm:prSet presAssocID="{3ED24ECD-BE87-4CB1-B2C3-EC225BC84503}" presName="negativeSpace" presStyleCnt="0"/>
      <dgm:spPr/>
    </dgm:pt>
    <dgm:pt modelId="{41741120-0049-41B2-92D6-2386613542AF}" type="pres">
      <dgm:prSet presAssocID="{3ED24ECD-BE87-4CB1-B2C3-EC225BC84503}" presName="childText" presStyleLbl="conFgAcc1" presStyleIdx="0" presStyleCnt="3">
        <dgm:presLayoutVars>
          <dgm:bulletEnabled val="1"/>
        </dgm:presLayoutVars>
      </dgm:prSet>
      <dgm:spPr/>
    </dgm:pt>
    <dgm:pt modelId="{5D806E26-8ADD-402F-BD75-A028EEB70DAC}" type="pres">
      <dgm:prSet presAssocID="{518E1B75-20C9-4C1C-96F8-5857750506D2}" presName="spaceBetweenRectangles" presStyleCnt="0"/>
      <dgm:spPr/>
    </dgm:pt>
    <dgm:pt modelId="{6B57057F-E025-47D5-B673-0D4A99CD4E66}" type="pres">
      <dgm:prSet presAssocID="{AAC65004-BCDF-448D-A926-43DE43A3515B}" presName="parentLin" presStyleCnt="0"/>
      <dgm:spPr/>
    </dgm:pt>
    <dgm:pt modelId="{70079A3F-9F09-4B2F-8FDD-EBFE95B07D53}" type="pres">
      <dgm:prSet presAssocID="{AAC65004-BCDF-448D-A926-43DE43A3515B}" presName="parentLeftMargin" presStyleLbl="node1" presStyleIdx="0" presStyleCnt="3"/>
      <dgm:spPr/>
    </dgm:pt>
    <dgm:pt modelId="{0D4DA83C-056B-4BB1-9BF9-29537A694BF3}" type="pres">
      <dgm:prSet presAssocID="{AAC65004-BCDF-448D-A926-43DE43A3515B}" presName="parentText" presStyleLbl="node1" presStyleIdx="1" presStyleCnt="3" custScaleX="132304">
        <dgm:presLayoutVars>
          <dgm:chMax val="0"/>
          <dgm:bulletEnabled val="1"/>
        </dgm:presLayoutVars>
      </dgm:prSet>
      <dgm:spPr/>
    </dgm:pt>
    <dgm:pt modelId="{711D2216-C844-41AE-A94F-6AC54CE7F21A}" type="pres">
      <dgm:prSet presAssocID="{AAC65004-BCDF-448D-A926-43DE43A3515B}" presName="negativeSpace" presStyleCnt="0"/>
      <dgm:spPr/>
    </dgm:pt>
    <dgm:pt modelId="{A7876987-67A3-44D3-9E45-705ACD582AA5}" type="pres">
      <dgm:prSet presAssocID="{AAC65004-BCDF-448D-A926-43DE43A3515B}" presName="childText" presStyleLbl="conFgAcc1" presStyleIdx="1" presStyleCnt="3">
        <dgm:presLayoutVars>
          <dgm:bulletEnabled val="1"/>
        </dgm:presLayoutVars>
      </dgm:prSet>
      <dgm:spPr/>
    </dgm:pt>
    <dgm:pt modelId="{FA72211C-9F94-48FA-A6CF-A619FA63AFAE}" type="pres">
      <dgm:prSet presAssocID="{6E51D290-82E7-49CA-BDED-0AE5AD6B1A46}" presName="spaceBetweenRectangles" presStyleCnt="0"/>
      <dgm:spPr/>
    </dgm:pt>
    <dgm:pt modelId="{FBCCF72E-80E2-4564-BD89-6B734344256C}" type="pres">
      <dgm:prSet presAssocID="{1FD926C8-0656-4EB3-89D1-735EBBF367A1}" presName="parentLin" presStyleCnt="0"/>
      <dgm:spPr/>
    </dgm:pt>
    <dgm:pt modelId="{B795EA36-CFC4-47D8-93E6-A46071FB32FF}" type="pres">
      <dgm:prSet presAssocID="{1FD926C8-0656-4EB3-89D1-735EBBF367A1}" presName="parentLeftMargin" presStyleLbl="node1" presStyleIdx="1" presStyleCnt="3"/>
      <dgm:spPr/>
    </dgm:pt>
    <dgm:pt modelId="{056C630B-5A70-4AEE-9DAC-BC67ABBF66B0}" type="pres">
      <dgm:prSet presAssocID="{1FD926C8-0656-4EB3-89D1-735EBBF367A1}" presName="parentText" presStyleLbl="node1" presStyleIdx="2" presStyleCnt="3" custScaleX="132304">
        <dgm:presLayoutVars>
          <dgm:chMax val="0"/>
          <dgm:bulletEnabled val="1"/>
        </dgm:presLayoutVars>
      </dgm:prSet>
      <dgm:spPr/>
    </dgm:pt>
    <dgm:pt modelId="{5E1413BB-CF05-40FA-B9BB-6016E0409700}" type="pres">
      <dgm:prSet presAssocID="{1FD926C8-0656-4EB3-89D1-735EBBF367A1}" presName="negativeSpace" presStyleCnt="0"/>
      <dgm:spPr/>
    </dgm:pt>
    <dgm:pt modelId="{DDA9D4A1-C5A1-44D2-B5D7-1654129DE836}" type="pres">
      <dgm:prSet presAssocID="{1FD926C8-0656-4EB3-89D1-735EBBF367A1}" presName="childText" presStyleLbl="conFgAcc1" presStyleIdx="2" presStyleCnt="3">
        <dgm:presLayoutVars>
          <dgm:bulletEnabled val="1"/>
        </dgm:presLayoutVars>
      </dgm:prSet>
      <dgm:spPr/>
    </dgm:pt>
  </dgm:ptLst>
  <dgm:cxnLst>
    <dgm:cxn modelId="{5E59FE03-3794-4E0C-945C-CFCADCB4F061}" srcId="{5E52D150-5998-4028-91B4-88C6D6E611C5}" destId="{3ED24ECD-BE87-4CB1-B2C3-EC225BC84503}" srcOrd="0" destOrd="0" parTransId="{E7F586E4-FA91-4561-A41C-8FD3325B13E3}" sibTransId="{518E1B75-20C9-4C1C-96F8-5857750506D2}"/>
    <dgm:cxn modelId="{98711D13-FE56-4735-B9E0-3B066A0E302F}" type="presOf" srcId="{1FD926C8-0656-4EB3-89D1-735EBBF367A1}" destId="{056C630B-5A70-4AEE-9DAC-BC67ABBF66B0}" srcOrd="1" destOrd="0" presId="urn:microsoft.com/office/officeart/2005/8/layout/list1"/>
    <dgm:cxn modelId="{52153747-A231-4E61-BC1B-2B46E43B8FAD}" type="presOf" srcId="{AAC65004-BCDF-448D-A926-43DE43A3515B}" destId="{70079A3F-9F09-4B2F-8FDD-EBFE95B07D53}" srcOrd="0" destOrd="0" presId="urn:microsoft.com/office/officeart/2005/8/layout/list1"/>
    <dgm:cxn modelId="{56C6EB4D-DC23-4C5D-BC1F-FA3A68E70E15}" type="presOf" srcId="{5E52D150-5998-4028-91B4-88C6D6E611C5}" destId="{3444698B-0D58-47B9-B47F-37E96D6D06DF}" srcOrd="0" destOrd="0" presId="urn:microsoft.com/office/officeart/2005/8/layout/list1"/>
    <dgm:cxn modelId="{FE50EF76-8752-4089-BF8B-698D99D716DE}" type="presOf" srcId="{3ED24ECD-BE87-4CB1-B2C3-EC225BC84503}" destId="{D0491A5E-BC8F-42ED-AE74-0803351A9D4D}" srcOrd="0" destOrd="0" presId="urn:microsoft.com/office/officeart/2005/8/layout/list1"/>
    <dgm:cxn modelId="{7D86539F-8101-4454-BA3D-CBB628794713}" srcId="{5E52D150-5998-4028-91B4-88C6D6E611C5}" destId="{1FD926C8-0656-4EB3-89D1-735EBBF367A1}" srcOrd="2" destOrd="0" parTransId="{87CAD700-6674-4AF0-9528-A3EA2D6EA940}" sibTransId="{29FDB0A7-26F2-404C-8199-3BF39BC19D99}"/>
    <dgm:cxn modelId="{A3F5EAA9-350C-4FCC-ADA0-8887B6B87737}" type="presOf" srcId="{1FD926C8-0656-4EB3-89D1-735EBBF367A1}" destId="{B795EA36-CFC4-47D8-93E6-A46071FB32FF}" srcOrd="0" destOrd="0" presId="urn:microsoft.com/office/officeart/2005/8/layout/list1"/>
    <dgm:cxn modelId="{EB6607C5-92D8-4989-8274-7C843C6D6AE6}" srcId="{5E52D150-5998-4028-91B4-88C6D6E611C5}" destId="{AAC65004-BCDF-448D-A926-43DE43A3515B}" srcOrd="1" destOrd="0" parTransId="{FB487AAD-4808-499B-BC3B-D936D19A12C4}" sibTransId="{6E51D290-82E7-49CA-BDED-0AE5AD6B1A46}"/>
    <dgm:cxn modelId="{EF7199DD-EF5C-4C6A-BB4A-D4159641D135}" type="presOf" srcId="{3ED24ECD-BE87-4CB1-B2C3-EC225BC84503}" destId="{DBC3FD9C-E314-4323-9B7D-DDF7E6162B2C}" srcOrd="1" destOrd="0" presId="urn:microsoft.com/office/officeart/2005/8/layout/list1"/>
    <dgm:cxn modelId="{785304E4-1425-4D24-839F-283D1A05FB09}" type="presOf" srcId="{AAC65004-BCDF-448D-A926-43DE43A3515B}" destId="{0D4DA83C-056B-4BB1-9BF9-29537A694BF3}" srcOrd="1" destOrd="0" presId="urn:microsoft.com/office/officeart/2005/8/layout/list1"/>
    <dgm:cxn modelId="{79BAF660-8058-4197-9E71-AE51482D8A06}" type="presParOf" srcId="{3444698B-0D58-47B9-B47F-37E96D6D06DF}" destId="{31DFF6D3-53B8-45C0-BA21-545E847C8739}" srcOrd="0" destOrd="0" presId="urn:microsoft.com/office/officeart/2005/8/layout/list1"/>
    <dgm:cxn modelId="{48C1DCC9-A6DF-479F-A96B-092F38EBD292}" type="presParOf" srcId="{31DFF6D3-53B8-45C0-BA21-545E847C8739}" destId="{D0491A5E-BC8F-42ED-AE74-0803351A9D4D}" srcOrd="0" destOrd="0" presId="urn:microsoft.com/office/officeart/2005/8/layout/list1"/>
    <dgm:cxn modelId="{C654EAA8-2E09-40D2-B933-F9C0290F0823}" type="presParOf" srcId="{31DFF6D3-53B8-45C0-BA21-545E847C8739}" destId="{DBC3FD9C-E314-4323-9B7D-DDF7E6162B2C}" srcOrd="1" destOrd="0" presId="urn:microsoft.com/office/officeart/2005/8/layout/list1"/>
    <dgm:cxn modelId="{EB162C6E-D199-4894-98F6-3636A334765B}" type="presParOf" srcId="{3444698B-0D58-47B9-B47F-37E96D6D06DF}" destId="{3554B8FF-E8BD-483B-9498-4EA3530F4F9F}" srcOrd="1" destOrd="0" presId="urn:microsoft.com/office/officeart/2005/8/layout/list1"/>
    <dgm:cxn modelId="{38375E45-8E26-456C-AE41-CFC4F7589217}" type="presParOf" srcId="{3444698B-0D58-47B9-B47F-37E96D6D06DF}" destId="{41741120-0049-41B2-92D6-2386613542AF}" srcOrd="2" destOrd="0" presId="urn:microsoft.com/office/officeart/2005/8/layout/list1"/>
    <dgm:cxn modelId="{E7FAE5F7-F145-42B4-A8F0-EEDA74B9B0A7}" type="presParOf" srcId="{3444698B-0D58-47B9-B47F-37E96D6D06DF}" destId="{5D806E26-8ADD-402F-BD75-A028EEB70DAC}" srcOrd="3" destOrd="0" presId="urn:microsoft.com/office/officeart/2005/8/layout/list1"/>
    <dgm:cxn modelId="{5428F9D0-3EC0-4938-A364-68137ECD809D}" type="presParOf" srcId="{3444698B-0D58-47B9-B47F-37E96D6D06DF}" destId="{6B57057F-E025-47D5-B673-0D4A99CD4E66}" srcOrd="4" destOrd="0" presId="urn:microsoft.com/office/officeart/2005/8/layout/list1"/>
    <dgm:cxn modelId="{61A0E39C-5599-4C17-8B43-EE5E43C6898B}" type="presParOf" srcId="{6B57057F-E025-47D5-B673-0D4A99CD4E66}" destId="{70079A3F-9F09-4B2F-8FDD-EBFE95B07D53}" srcOrd="0" destOrd="0" presId="urn:microsoft.com/office/officeart/2005/8/layout/list1"/>
    <dgm:cxn modelId="{A52BD48F-9A66-4F75-B988-BD8BAE70BB3A}" type="presParOf" srcId="{6B57057F-E025-47D5-B673-0D4A99CD4E66}" destId="{0D4DA83C-056B-4BB1-9BF9-29537A694BF3}" srcOrd="1" destOrd="0" presId="urn:microsoft.com/office/officeart/2005/8/layout/list1"/>
    <dgm:cxn modelId="{C1D26D63-FB68-4BC7-A485-67E4204AE005}" type="presParOf" srcId="{3444698B-0D58-47B9-B47F-37E96D6D06DF}" destId="{711D2216-C844-41AE-A94F-6AC54CE7F21A}" srcOrd="5" destOrd="0" presId="urn:microsoft.com/office/officeart/2005/8/layout/list1"/>
    <dgm:cxn modelId="{9AC681BA-5DB4-431A-BED9-542798A03A06}" type="presParOf" srcId="{3444698B-0D58-47B9-B47F-37E96D6D06DF}" destId="{A7876987-67A3-44D3-9E45-705ACD582AA5}" srcOrd="6" destOrd="0" presId="urn:microsoft.com/office/officeart/2005/8/layout/list1"/>
    <dgm:cxn modelId="{00196F3E-0AB7-4623-B51E-50F4FD259AF2}" type="presParOf" srcId="{3444698B-0D58-47B9-B47F-37E96D6D06DF}" destId="{FA72211C-9F94-48FA-A6CF-A619FA63AFAE}" srcOrd="7" destOrd="0" presId="urn:microsoft.com/office/officeart/2005/8/layout/list1"/>
    <dgm:cxn modelId="{4022466A-CC03-444D-B539-125FC1E3D8E9}" type="presParOf" srcId="{3444698B-0D58-47B9-B47F-37E96D6D06DF}" destId="{FBCCF72E-80E2-4564-BD89-6B734344256C}" srcOrd="8" destOrd="0" presId="urn:microsoft.com/office/officeart/2005/8/layout/list1"/>
    <dgm:cxn modelId="{8491B3E2-0CA6-41BA-85F1-707E8F1BFD43}" type="presParOf" srcId="{FBCCF72E-80E2-4564-BD89-6B734344256C}" destId="{B795EA36-CFC4-47D8-93E6-A46071FB32FF}" srcOrd="0" destOrd="0" presId="urn:microsoft.com/office/officeart/2005/8/layout/list1"/>
    <dgm:cxn modelId="{6641BB17-321C-44A9-8F99-1E170DB184D0}" type="presParOf" srcId="{FBCCF72E-80E2-4564-BD89-6B734344256C}" destId="{056C630B-5A70-4AEE-9DAC-BC67ABBF66B0}" srcOrd="1" destOrd="0" presId="urn:microsoft.com/office/officeart/2005/8/layout/list1"/>
    <dgm:cxn modelId="{FA6CF9E6-7308-479C-B20D-6D9359A8D723}" type="presParOf" srcId="{3444698B-0D58-47B9-B47F-37E96D6D06DF}" destId="{5E1413BB-CF05-40FA-B9BB-6016E0409700}" srcOrd="9" destOrd="0" presId="urn:microsoft.com/office/officeart/2005/8/layout/list1"/>
    <dgm:cxn modelId="{AEE94402-D64B-47CC-8D04-ED458AF53BDF}" type="presParOf" srcId="{3444698B-0D58-47B9-B47F-37E96D6D06DF}" destId="{DDA9D4A1-C5A1-44D2-B5D7-1654129DE836}" srcOrd="10" destOrd="0" presId="urn:microsoft.com/office/officeart/2005/8/layout/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E52D150-5998-4028-91B4-88C6D6E611C5}"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s-PE"/>
        </a:p>
      </dgm:t>
    </dgm:pt>
    <dgm:pt modelId="{3ED24ECD-BE87-4CB1-B2C3-EC225BC84503}">
      <dgm:prSet phldrT="[Texto]" custT="1"/>
      <dgm:spPr>
        <a:solidFill>
          <a:srgbClr val="FF5324"/>
        </a:solidFill>
      </dgm:spPr>
      <dgm:t>
        <a:bodyPr/>
        <a:lstStyle/>
        <a:p>
          <a:pPr algn="just"/>
          <a:r>
            <a:rPr lang="es-PE" sz="1800" dirty="0"/>
            <a:t>Cada proyecto debe definir y documentar las reglas de calidad.</a:t>
          </a:r>
        </a:p>
      </dgm:t>
    </dgm:pt>
    <dgm:pt modelId="{E7F586E4-FA91-4561-A41C-8FD3325B13E3}" type="parTrans" cxnId="{5E59FE03-3794-4E0C-945C-CFCADCB4F061}">
      <dgm:prSet/>
      <dgm:spPr/>
      <dgm:t>
        <a:bodyPr/>
        <a:lstStyle/>
        <a:p>
          <a:endParaRPr lang="es-PE" sz="1800"/>
        </a:p>
      </dgm:t>
    </dgm:pt>
    <dgm:pt modelId="{518E1B75-20C9-4C1C-96F8-5857750506D2}" type="sibTrans" cxnId="{5E59FE03-3794-4E0C-945C-CFCADCB4F061}">
      <dgm:prSet/>
      <dgm:spPr/>
      <dgm:t>
        <a:bodyPr/>
        <a:lstStyle/>
        <a:p>
          <a:endParaRPr lang="es-PE" sz="1800"/>
        </a:p>
      </dgm:t>
    </dgm:pt>
    <dgm:pt modelId="{1FD926C8-0656-4EB3-89D1-735EBBF367A1}">
      <dgm:prSet phldrT="[Texto]" custT="1"/>
      <dgm:spPr>
        <a:solidFill>
          <a:srgbClr val="FF5324"/>
        </a:solidFill>
      </dgm:spPr>
      <dgm:t>
        <a:bodyPr/>
        <a:lstStyle/>
        <a:p>
          <a:pPr algn="just">
            <a:buNone/>
          </a:pPr>
          <a:r>
            <a:rPr lang="es-PE" sz="1800" dirty="0"/>
            <a:t>Todas las reglas deben almacenarse en una tabla estructurada y versionada.</a:t>
          </a:r>
        </a:p>
      </dgm:t>
    </dgm:pt>
    <dgm:pt modelId="{87CAD700-6674-4AF0-9528-A3EA2D6EA940}" type="parTrans" cxnId="{7D86539F-8101-4454-BA3D-CBB628794713}">
      <dgm:prSet/>
      <dgm:spPr/>
      <dgm:t>
        <a:bodyPr/>
        <a:lstStyle/>
        <a:p>
          <a:endParaRPr lang="es-PE" sz="1800"/>
        </a:p>
      </dgm:t>
    </dgm:pt>
    <dgm:pt modelId="{29FDB0A7-26F2-404C-8199-3BF39BC19D99}" type="sibTrans" cxnId="{7D86539F-8101-4454-BA3D-CBB628794713}">
      <dgm:prSet/>
      <dgm:spPr/>
      <dgm:t>
        <a:bodyPr/>
        <a:lstStyle/>
        <a:p>
          <a:endParaRPr lang="es-PE" sz="1800"/>
        </a:p>
      </dgm:t>
    </dgm:pt>
    <dgm:pt modelId="{3444698B-0D58-47B9-B47F-37E96D6D06DF}" type="pres">
      <dgm:prSet presAssocID="{5E52D150-5998-4028-91B4-88C6D6E611C5}" presName="linear" presStyleCnt="0">
        <dgm:presLayoutVars>
          <dgm:dir/>
          <dgm:animLvl val="lvl"/>
          <dgm:resizeHandles val="exact"/>
        </dgm:presLayoutVars>
      </dgm:prSet>
      <dgm:spPr/>
    </dgm:pt>
    <dgm:pt modelId="{31DFF6D3-53B8-45C0-BA21-545E847C8739}" type="pres">
      <dgm:prSet presAssocID="{3ED24ECD-BE87-4CB1-B2C3-EC225BC84503}" presName="parentLin" presStyleCnt="0"/>
      <dgm:spPr/>
    </dgm:pt>
    <dgm:pt modelId="{D0491A5E-BC8F-42ED-AE74-0803351A9D4D}" type="pres">
      <dgm:prSet presAssocID="{3ED24ECD-BE87-4CB1-B2C3-EC225BC84503}" presName="parentLeftMargin" presStyleLbl="node1" presStyleIdx="0" presStyleCnt="2"/>
      <dgm:spPr/>
    </dgm:pt>
    <dgm:pt modelId="{DBC3FD9C-E314-4323-9B7D-DDF7E6162B2C}" type="pres">
      <dgm:prSet presAssocID="{3ED24ECD-BE87-4CB1-B2C3-EC225BC84503}" presName="parentText" presStyleLbl="node1" presStyleIdx="0" presStyleCnt="2" custScaleX="132304">
        <dgm:presLayoutVars>
          <dgm:chMax val="0"/>
          <dgm:bulletEnabled val="1"/>
        </dgm:presLayoutVars>
      </dgm:prSet>
      <dgm:spPr/>
    </dgm:pt>
    <dgm:pt modelId="{3554B8FF-E8BD-483B-9498-4EA3530F4F9F}" type="pres">
      <dgm:prSet presAssocID="{3ED24ECD-BE87-4CB1-B2C3-EC225BC84503}" presName="negativeSpace" presStyleCnt="0"/>
      <dgm:spPr/>
    </dgm:pt>
    <dgm:pt modelId="{41741120-0049-41B2-92D6-2386613542AF}" type="pres">
      <dgm:prSet presAssocID="{3ED24ECD-BE87-4CB1-B2C3-EC225BC84503}" presName="childText" presStyleLbl="conFgAcc1" presStyleIdx="0" presStyleCnt="2">
        <dgm:presLayoutVars>
          <dgm:bulletEnabled val="1"/>
        </dgm:presLayoutVars>
      </dgm:prSet>
      <dgm:spPr/>
    </dgm:pt>
    <dgm:pt modelId="{5D806E26-8ADD-402F-BD75-A028EEB70DAC}" type="pres">
      <dgm:prSet presAssocID="{518E1B75-20C9-4C1C-96F8-5857750506D2}" presName="spaceBetweenRectangles" presStyleCnt="0"/>
      <dgm:spPr/>
    </dgm:pt>
    <dgm:pt modelId="{FBCCF72E-80E2-4564-BD89-6B734344256C}" type="pres">
      <dgm:prSet presAssocID="{1FD926C8-0656-4EB3-89D1-735EBBF367A1}" presName="parentLin" presStyleCnt="0"/>
      <dgm:spPr/>
    </dgm:pt>
    <dgm:pt modelId="{B795EA36-CFC4-47D8-93E6-A46071FB32FF}" type="pres">
      <dgm:prSet presAssocID="{1FD926C8-0656-4EB3-89D1-735EBBF367A1}" presName="parentLeftMargin" presStyleLbl="node1" presStyleIdx="0" presStyleCnt="2"/>
      <dgm:spPr/>
    </dgm:pt>
    <dgm:pt modelId="{056C630B-5A70-4AEE-9DAC-BC67ABBF66B0}" type="pres">
      <dgm:prSet presAssocID="{1FD926C8-0656-4EB3-89D1-735EBBF367A1}" presName="parentText" presStyleLbl="node1" presStyleIdx="1" presStyleCnt="2" custScaleX="132304">
        <dgm:presLayoutVars>
          <dgm:chMax val="0"/>
          <dgm:bulletEnabled val="1"/>
        </dgm:presLayoutVars>
      </dgm:prSet>
      <dgm:spPr/>
    </dgm:pt>
    <dgm:pt modelId="{5E1413BB-CF05-40FA-B9BB-6016E0409700}" type="pres">
      <dgm:prSet presAssocID="{1FD926C8-0656-4EB3-89D1-735EBBF367A1}" presName="negativeSpace" presStyleCnt="0"/>
      <dgm:spPr/>
    </dgm:pt>
    <dgm:pt modelId="{DDA9D4A1-C5A1-44D2-B5D7-1654129DE836}" type="pres">
      <dgm:prSet presAssocID="{1FD926C8-0656-4EB3-89D1-735EBBF367A1}" presName="childText" presStyleLbl="conFgAcc1" presStyleIdx="1" presStyleCnt="2">
        <dgm:presLayoutVars>
          <dgm:bulletEnabled val="1"/>
        </dgm:presLayoutVars>
      </dgm:prSet>
      <dgm:spPr/>
    </dgm:pt>
  </dgm:ptLst>
  <dgm:cxnLst>
    <dgm:cxn modelId="{5E59FE03-3794-4E0C-945C-CFCADCB4F061}" srcId="{5E52D150-5998-4028-91B4-88C6D6E611C5}" destId="{3ED24ECD-BE87-4CB1-B2C3-EC225BC84503}" srcOrd="0" destOrd="0" parTransId="{E7F586E4-FA91-4561-A41C-8FD3325B13E3}" sibTransId="{518E1B75-20C9-4C1C-96F8-5857750506D2}"/>
    <dgm:cxn modelId="{98711D13-FE56-4735-B9E0-3B066A0E302F}" type="presOf" srcId="{1FD926C8-0656-4EB3-89D1-735EBBF367A1}" destId="{056C630B-5A70-4AEE-9DAC-BC67ABBF66B0}" srcOrd="1" destOrd="0" presId="urn:microsoft.com/office/officeart/2005/8/layout/list1"/>
    <dgm:cxn modelId="{56C6EB4D-DC23-4C5D-BC1F-FA3A68E70E15}" type="presOf" srcId="{5E52D150-5998-4028-91B4-88C6D6E611C5}" destId="{3444698B-0D58-47B9-B47F-37E96D6D06DF}" srcOrd="0" destOrd="0" presId="urn:microsoft.com/office/officeart/2005/8/layout/list1"/>
    <dgm:cxn modelId="{FE50EF76-8752-4089-BF8B-698D99D716DE}" type="presOf" srcId="{3ED24ECD-BE87-4CB1-B2C3-EC225BC84503}" destId="{D0491A5E-BC8F-42ED-AE74-0803351A9D4D}" srcOrd="0" destOrd="0" presId="urn:microsoft.com/office/officeart/2005/8/layout/list1"/>
    <dgm:cxn modelId="{7D86539F-8101-4454-BA3D-CBB628794713}" srcId="{5E52D150-5998-4028-91B4-88C6D6E611C5}" destId="{1FD926C8-0656-4EB3-89D1-735EBBF367A1}" srcOrd="1" destOrd="0" parTransId="{87CAD700-6674-4AF0-9528-A3EA2D6EA940}" sibTransId="{29FDB0A7-26F2-404C-8199-3BF39BC19D99}"/>
    <dgm:cxn modelId="{A3F5EAA9-350C-4FCC-ADA0-8887B6B87737}" type="presOf" srcId="{1FD926C8-0656-4EB3-89D1-735EBBF367A1}" destId="{B795EA36-CFC4-47D8-93E6-A46071FB32FF}" srcOrd="0" destOrd="0" presId="urn:microsoft.com/office/officeart/2005/8/layout/list1"/>
    <dgm:cxn modelId="{EF7199DD-EF5C-4C6A-BB4A-D4159641D135}" type="presOf" srcId="{3ED24ECD-BE87-4CB1-B2C3-EC225BC84503}" destId="{DBC3FD9C-E314-4323-9B7D-DDF7E6162B2C}" srcOrd="1" destOrd="0" presId="urn:microsoft.com/office/officeart/2005/8/layout/list1"/>
    <dgm:cxn modelId="{79BAF660-8058-4197-9E71-AE51482D8A06}" type="presParOf" srcId="{3444698B-0D58-47B9-B47F-37E96D6D06DF}" destId="{31DFF6D3-53B8-45C0-BA21-545E847C8739}" srcOrd="0" destOrd="0" presId="urn:microsoft.com/office/officeart/2005/8/layout/list1"/>
    <dgm:cxn modelId="{48C1DCC9-A6DF-479F-A96B-092F38EBD292}" type="presParOf" srcId="{31DFF6D3-53B8-45C0-BA21-545E847C8739}" destId="{D0491A5E-BC8F-42ED-AE74-0803351A9D4D}" srcOrd="0" destOrd="0" presId="urn:microsoft.com/office/officeart/2005/8/layout/list1"/>
    <dgm:cxn modelId="{C654EAA8-2E09-40D2-B933-F9C0290F0823}" type="presParOf" srcId="{31DFF6D3-53B8-45C0-BA21-545E847C8739}" destId="{DBC3FD9C-E314-4323-9B7D-DDF7E6162B2C}" srcOrd="1" destOrd="0" presId="urn:microsoft.com/office/officeart/2005/8/layout/list1"/>
    <dgm:cxn modelId="{EB162C6E-D199-4894-98F6-3636A334765B}" type="presParOf" srcId="{3444698B-0D58-47B9-B47F-37E96D6D06DF}" destId="{3554B8FF-E8BD-483B-9498-4EA3530F4F9F}" srcOrd="1" destOrd="0" presId="urn:microsoft.com/office/officeart/2005/8/layout/list1"/>
    <dgm:cxn modelId="{38375E45-8E26-456C-AE41-CFC4F7589217}" type="presParOf" srcId="{3444698B-0D58-47B9-B47F-37E96D6D06DF}" destId="{41741120-0049-41B2-92D6-2386613542AF}" srcOrd="2" destOrd="0" presId="urn:microsoft.com/office/officeart/2005/8/layout/list1"/>
    <dgm:cxn modelId="{E7FAE5F7-F145-42B4-A8F0-EEDA74B9B0A7}" type="presParOf" srcId="{3444698B-0D58-47B9-B47F-37E96D6D06DF}" destId="{5D806E26-8ADD-402F-BD75-A028EEB70DAC}" srcOrd="3" destOrd="0" presId="urn:microsoft.com/office/officeart/2005/8/layout/list1"/>
    <dgm:cxn modelId="{4022466A-CC03-444D-B539-125FC1E3D8E9}" type="presParOf" srcId="{3444698B-0D58-47B9-B47F-37E96D6D06DF}" destId="{FBCCF72E-80E2-4564-BD89-6B734344256C}" srcOrd="4" destOrd="0" presId="urn:microsoft.com/office/officeart/2005/8/layout/list1"/>
    <dgm:cxn modelId="{8491B3E2-0CA6-41BA-85F1-707E8F1BFD43}" type="presParOf" srcId="{FBCCF72E-80E2-4564-BD89-6B734344256C}" destId="{B795EA36-CFC4-47D8-93E6-A46071FB32FF}" srcOrd="0" destOrd="0" presId="urn:microsoft.com/office/officeart/2005/8/layout/list1"/>
    <dgm:cxn modelId="{6641BB17-321C-44A9-8F99-1E170DB184D0}" type="presParOf" srcId="{FBCCF72E-80E2-4564-BD89-6B734344256C}" destId="{056C630B-5A70-4AEE-9DAC-BC67ABBF66B0}" srcOrd="1" destOrd="0" presId="urn:microsoft.com/office/officeart/2005/8/layout/list1"/>
    <dgm:cxn modelId="{FA6CF9E6-7308-479C-B20D-6D9359A8D723}" type="presParOf" srcId="{3444698B-0D58-47B9-B47F-37E96D6D06DF}" destId="{5E1413BB-CF05-40FA-B9BB-6016E0409700}" srcOrd="5" destOrd="0" presId="urn:microsoft.com/office/officeart/2005/8/layout/list1"/>
    <dgm:cxn modelId="{AEE94402-D64B-47CC-8D04-ED458AF53BDF}" type="presParOf" srcId="{3444698B-0D58-47B9-B47F-37E96D6D06DF}" destId="{DDA9D4A1-C5A1-44D2-B5D7-1654129DE836}" srcOrd="6" destOrd="0" presId="urn:microsoft.com/office/officeart/2005/8/layout/list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E52D150-5998-4028-91B4-88C6D6E611C5}"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s-PE"/>
        </a:p>
      </dgm:t>
    </dgm:pt>
    <dgm:pt modelId="{3ED24ECD-BE87-4CB1-B2C3-EC225BC84503}">
      <dgm:prSet phldrT="[Texto]" custT="1"/>
      <dgm:spPr>
        <a:solidFill>
          <a:srgbClr val="003399"/>
        </a:solidFill>
      </dgm:spPr>
      <dgm:t>
        <a:bodyPr/>
        <a:lstStyle/>
        <a:p>
          <a:pPr algn="just"/>
          <a:r>
            <a:rPr lang="es-MX" sz="1800" dirty="0"/>
            <a:t>Nivel 1: Técnico</a:t>
          </a:r>
          <a:endParaRPr lang="es-PE" sz="1800" dirty="0"/>
        </a:p>
      </dgm:t>
    </dgm:pt>
    <dgm:pt modelId="{E7F586E4-FA91-4561-A41C-8FD3325B13E3}" type="parTrans" cxnId="{5E59FE03-3794-4E0C-945C-CFCADCB4F061}">
      <dgm:prSet/>
      <dgm:spPr/>
      <dgm:t>
        <a:bodyPr/>
        <a:lstStyle/>
        <a:p>
          <a:endParaRPr lang="es-PE" sz="1800"/>
        </a:p>
      </dgm:t>
    </dgm:pt>
    <dgm:pt modelId="{518E1B75-20C9-4C1C-96F8-5857750506D2}" type="sibTrans" cxnId="{5E59FE03-3794-4E0C-945C-CFCADCB4F061}">
      <dgm:prSet/>
      <dgm:spPr/>
      <dgm:t>
        <a:bodyPr/>
        <a:lstStyle/>
        <a:p>
          <a:endParaRPr lang="es-PE" sz="1800"/>
        </a:p>
      </dgm:t>
    </dgm:pt>
    <dgm:pt modelId="{AAC65004-BCDF-448D-A926-43DE43A3515B}">
      <dgm:prSet phldrT="[Texto]" custT="1"/>
      <dgm:spPr>
        <a:solidFill>
          <a:srgbClr val="003399"/>
        </a:solidFill>
      </dgm:spPr>
      <dgm:t>
        <a:bodyPr/>
        <a:lstStyle/>
        <a:p>
          <a:pPr algn="just">
            <a:buNone/>
          </a:pPr>
          <a:r>
            <a:rPr lang="es-PE" sz="1800" dirty="0"/>
            <a:t>Nivel 2: Negocio (Fuentes)</a:t>
          </a:r>
        </a:p>
      </dgm:t>
    </dgm:pt>
    <dgm:pt modelId="{FB487AAD-4808-499B-BC3B-D936D19A12C4}" type="parTrans" cxnId="{EB6607C5-92D8-4989-8274-7C843C6D6AE6}">
      <dgm:prSet/>
      <dgm:spPr/>
      <dgm:t>
        <a:bodyPr/>
        <a:lstStyle/>
        <a:p>
          <a:endParaRPr lang="es-PE" sz="1800"/>
        </a:p>
      </dgm:t>
    </dgm:pt>
    <dgm:pt modelId="{6E51D290-82E7-49CA-BDED-0AE5AD6B1A46}" type="sibTrans" cxnId="{EB6607C5-92D8-4989-8274-7C843C6D6AE6}">
      <dgm:prSet/>
      <dgm:spPr/>
      <dgm:t>
        <a:bodyPr/>
        <a:lstStyle/>
        <a:p>
          <a:endParaRPr lang="es-PE" sz="1800"/>
        </a:p>
      </dgm:t>
    </dgm:pt>
    <dgm:pt modelId="{1FD926C8-0656-4EB3-89D1-735EBBF367A1}">
      <dgm:prSet phldrT="[Texto]" custT="1"/>
      <dgm:spPr>
        <a:solidFill>
          <a:srgbClr val="003399"/>
        </a:solidFill>
      </dgm:spPr>
      <dgm:t>
        <a:bodyPr/>
        <a:lstStyle/>
        <a:p>
          <a:pPr algn="just">
            <a:buNone/>
          </a:pPr>
          <a:r>
            <a:rPr lang="es-PE" sz="1800" dirty="0"/>
            <a:t>Nivel 3: Reglas de Calidad</a:t>
          </a:r>
        </a:p>
      </dgm:t>
    </dgm:pt>
    <dgm:pt modelId="{87CAD700-6674-4AF0-9528-A3EA2D6EA940}" type="parTrans" cxnId="{7D86539F-8101-4454-BA3D-CBB628794713}">
      <dgm:prSet/>
      <dgm:spPr/>
      <dgm:t>
        <a:bodyPr/>
        <a:lstStyle/>
        <a:p>
          <a:endParaRPr lang="es-PE" sz="1800"/>
        </a:p>
      </dgm:t>
    </dgm:pt>
    <dgm:pt modelId="{29FDB0A7-26F2-404C-8199-3BF39BC19D99}" type="sibTrans" cxnId="{7D86539F-8101-4454-BA3D-CBB628794713}">
      <dgm:prSet/>
      <dgm:spPr/>
      <dgm:t>
        <a:bodyPr/>
        <a:lstStyle/>
        <a:p>
          <a:endParaRPr lang="es-PE" sz="1800"/>
        </a:p>
      </dgm:t>
    </dgm:pt>
    <dgm:pt modelId="{3444698B-0D58-47B9-B47F-37E96D6D06DF}" type="pres">
      <dgm:prSet presAssocID="{5E52D150-5998-4028-91B4-88C6D6E611C5}" presName="linear" presStyleCnt="0">
        <dgm:presLayoutVars>
          <dgm:dir/>
          <dgm:animLvl val="lvl"/>
          <dgm:resizeHandles val="exact"/>
        </dgm:presLayoutVars>
      </dgm:prSet>
      <dgm:spPr/>
    </dgm:pt>
    <dgm:pt modelId="{31DFF6D3-53B8-45C0-BA21-545E847C8739}" type="pres">
      <dgm:prSet presAssocID="{3ED24ECD-BE87-4CB1-B2C3-EC225BC84503}" presName="parentLin" presStyleCnt="0"/>
      <dgm:spPr/>
    </dgm:pt>
    <dgm:pt modelId="{D0491A5E-BC8F-42ED-AE74-0803351A9D4D}" type="pres">
      <dgm:prSet presAssocID="{3ED24ECD-BE87-4CB1-B2C3-EC225BC84503}" presName="parentLeftMargin" presStyleLbl="node1" presStyleIdx="0" presStyleCnt="3"/>
      <dgm:spPr/>
    </dgm:pt>
    <dgm:pt modelId="{DBC3FD9C-E314-4323-9B7D-DDF7E6162B2C}" type="pres">
      <dgm:prSet presAssocID="{3ED24ECD-BE87-4CB1-B2C3-EC225BC84503}" presName="parentText" presStyleLbl="node1" presStyleIdx="0" presStyleCnt="3" custScaleX="132304">
        <dgm:presLayoutVars>
          <dgm:chMax val="0"/>
          <dgm:bulletEnabled val="1"/>
        </dgm:presLayoutVars>
      </dgm:prSet>
      <dgm:spPr/>
    </dgm:pt>
    <dgm:pt modelId="{3554B8FF-E8BD-483B-9498-4EA3530F4F9F}" type="pres">
      <dgm:prSet presAssocID="{3ED24ECD-BE87-4CB1-B2C3-EC225BC84503}" presName="negativeSpace" presStyleCnt="0"/>
      <dgm:spPr/>
    </dgm:pt>
    <dgm:pt modelId="{41741120-0049-41B2-92D6-2386613542AF}" type="pres">
      <dgm:prSet presAssocID="{3ED24ECD-BE87-4CB1-B2C3-EC225BC84503}" presName="childText" presStyleLbl="conFgAcc1" presStyleIdx="0" presStyleCnt="3">
        <dgm:presLayoutVars>
          <dgm:bulletEnabled val="1"/>
        </dgm:presLayoutVars>
      </dgm:prSet>
      <dgm:spPr/>
    </dgm:pt>
    <dgm:pt modelId="{5D806E26-8ADD-402F-BD75-A028EEB70DAC}" type="pres">
      <dgm:prSet presAssocID="{518E1B75-20C9-4C1C-96F8-5857750506D2}" presName="spaceBetweenRectangles" presStyleCnt="0"/>
      <dgm:spPr/>
    </dgm:pt>
    <dgm:pt modelId="{6B57057F-E025-47D5-B673-0D4A99CD4E66}" type="pres">
      <dgm:prSet presAssocID="{AAC65004-BCDF-448D-A926-43DE43A3515B}" presName="parentLin" presStyleCnt="0"/>
      <dgm:spPr/>
    </dgm:pt>
    <dgm:pt modelId="{70079A3F-9F09-4B2F-8FDD-EBFE95B07D53}" type="pres">
      <dgm:prSet presAssocID="{AAC65004-BCDF-448D-A926-43DE43A3515B}" presName="parentLeftMargin" presStyleLbl="node1" presStyleIdx="0" presStyleCnt="3"/>
      <dgm:spPr/>
    </dgm:pt>
    <dgm:pt modelId="{0D4DA83C-056B-4BB1-9BF9-29537A694BF3}" type="pres">
      <dgm:prSet presAssocID="{AAC65004-BCDF-448D-A926-43DE43A3515B}" presName="parentText" presStyleLbl="node1" presStyleIdx="1" presStyleCnt="3" custScaleX="132304">
        <dgm:presLayoutVars>
          <dgm:chMax val="0"/>
          <dgm:bulletEnabled val="1"/>
        </dgm:presLayoutVars>
      </dgm:prSet>
      <dgm:spPr/>
    </dgm:pt>
    <dgm:pt modelId="{711D2216-C844-41AE-A94F-6AC54CE7F21A}" type="pres">
      <dgm:prSet presAssocID="{AAC65004-BCDF-448D-A926-43DE43A3515B}" presName="negativeSpace" presStyleCnt="0"/>
      <dgm:spPr/>
    </dgm:pt>
    <dgm:pt modelId="{A7876987-67A3-44D3-9E45-705ACD582AA5}" type="pres">
      <dgm:prSet presAssocID="{AAC65004-BCDF-448D-A926-43DE43A3515B}" presName="childText" presStyleLbl="conFgAcc1" presStyleIdx="1" presStyleCnt="3">
        <dgm:presLayoutVars>
          <dgm:bulletEnabled val="1"/>
        </dgm:presLayoutVars>
      </dgm:prSet>
      <dgm:spPr/>
    </dgm:pt>
    <dgm:pt modelId="{FA72211C-9F94-48FA-A6CF-A619FA63AFAE}" type="pres">
      <dgm:prSet presAssocID="{6E51D290-82E7-49CA-BDED-0AE5AD6B1A46}" presName="spaceBetweenRectangles" presStyleCnt="0"/>
      <dgm:spPr/>
    </dgm:pt>
    <dgm:pt modelId="{FBCCF72E-80E2-4564-BD89-6B734344256C}" type="pres">
      <dgm:prSet presAssocID="{1FD926C8-0656-4EB3-89D1-735EBBF367A1}" presName="parentLin" presStyleCnt="0"/>
      <dgm:spPr/>
    </dgm:pt>
    <dgm:pt modelId="{B795EA36-CFC4-47D8-93E6-A46071FB32FF}" type="pres">
      <dgm:prSet presAssocID="{1FD926C8-0656-4EB3-89D1-735EBBF367A1}" presName="parentLeftMargin" presStyleLbl="node1" presStyleIdx="1" presStyleCnt="3"/>
      <dgm:spPr/>
    </dgm:pt>
    <dgm:pt modelId="{056C630B-5A70-4AEE-9DAC-BC67ABBF66B0}" type="pres">
      <dgm:prSet presAssocID="{1FD926C8-0656-4EB3-89D1-735EBBF367A1}" presName="parentText" presStyleLbl="node1" presStyleIdx="2" presStyleCnt="3" custScaleX="132304">
        <dgm:presLayoutVars>
          <dgm:chMax val="0"/>
          <dgm:bulletEnabled val="1"/>
        </dgm:presLayoutVars>
      </dgm:prSet>
      <dgm:spPr/>
    </dgm:pt>
    <dgm:pt modelId="{5E1413BB-CF05-40FA-B9BB-6016E0409700}" type="pres">
      <dgm:prSet presAssocID="{1FD926C8-0656-4EB3-89D1-735EBBF367A1}" presName="negativeSpace" presStyleCnt="0"/>
      <dgm:spPr/>
    </dgm:pt>
    <dgm:pt modelId="{DDA9D4A1-C5A1-44D2-B5D7-1654129DE836}" type="pres">
      <dgm:prSet presAssocID="{1FD926C8-0656-4EB3-89D1-735EBBF367A1}" presName="childText" presStyleLbl="conFgAcc1" presStyleIdx="2" presStyleCnt="3">
        <dgm:presLayoutVars>
          <dgm:bulletEnabled val="1"/>
        </dgm:presLayoutVars>
      </dgm:prSet>
      <dgm:spPr/>
    </dgm:pt>
  </dgm:ptLst>
  <dgm:cxnLst>
    <dgm:cxn modelId="{5E59FE03-3794-4E0C-945C-CFCADCB4F061}" srcId="{5E52D150-5998-4028-91B4-88C6D6E611C5}" destId="{3ED24ECD-BE87-4CB1-B2C3-EC225BC84503}" srcOrd="0" destOrd="0" parTransId="{E7F586E4-FA91-4561-A41C-8FD3325B13E3}" sibTransId="{518E1B75-20C9-4C1C-96F8-5857750506D2}"/>
    <dgm:cxn modelId="{98711D13-FE56-4735-B9E0-3B066A0E302F}" type="presOf" srcId="{1FD926C8-0656-4EB3-89D1-735EBBF367A1}" destId="{056C630B-5A70-4AEE-9DAC-BC67ABBF66B0}" srcOrd="1" destOrd="0" presId="urn:microsoft.com/office/officeart/2005/8/layout/list1"/>
    <dgm:cxn modelId="{52153747-A231-4E61-BC1B-2B46E43B8FAD}" type="presOf" srcId="{AAC65004-BCDF-448D-A926-43DE43A3515B}" destId="{70079A3F-9F09-4B2F-8FDD-EBFE95B07D53}" srcOrd="0" destOrd="0" presId="urn:microsoft.com/office/officeart/2005/8/layout/list1"/>
    <dgm:cxn modelId="{56C6EB4D-DC23-4C5D-BC1F-FA3A68E70E15}" type="presOf" srcId="{5E52D150-5998-4028-91B4-88C6D6E611C5}" destId="{3444698B-0D58-47B9-B47F-37E96D6D06DF}" srcOrd="0" destOrd="0" presId="urn:microsoft.com/office/officeart/2005/8/layout/list1"/>
    <dgm:cxn modelId="{FE50EF76-8752-4089-BF8B-698D99D716DE}" type="presOf" srcId="{3ED24ECD-BE87-4CB1-B2C3-EC225BC84503}" destId="{D0491A5E-BC8F-42ED-AE74-0803351A9D4D}" srcOrd="0" destOrd="0" presId="urn:microsoft.com/office/officeart/2005/8/layout/list1"/>
    <dgm:cxn modelId="{7D86539F-8101-4454-BA3D-CBB628794713}" srcId="{5E52D150-5998-4028-91B4-88C6D6E611C5}" destId="{1FD926C8-0656-4EB3-89D1-735EBBF367A1}" srcOrd="2" destOrd="0" parTransId="{87CAD700-6674-4AF0-9528-A3EA2D6EA940}" sibTransId="{29FDB0A7-26F2-404C-8199-3BF39BC19D99}"/>
    <dgm:cxn modelId="{A3F5EAA9-350C-4FCC-ADA0-8887B6B87737}" type="presOf" srcId="{1FD926C8-0656-4EB3-89D1-735EBBF367A1}" destId="{B795EA36-CFC4-47D8-93E6-A46071FB32FF}" srcOrd="0" destOrd="0" presId="urn:microsoft.com/office/officeart/2005/8/layout/list1"/>
    <dgm:cxn modelId="{EB6607C5-92D8-4989-8274-7C843C6D6AE6}" srcId="{5E52D150-5998-4028-91B4-88C6D6E611C5}" destId="{AAC65004-BCDF-448D-A926-43DE43A3515B}" srcOrd="1" destOrd="0" parTransId="{FB487AAD-4808-499B-BC3B-D936D19A12C4}" sibTransId="{6E51D290-82E7-49CA-BDED-0AE5AD6B1A46}"/>
    <dgm:cxn modelId="{EF7199DD-EF5C-4C6A-BB4A-D4159641D135}" type="presOf" srcId="{3ED24ECD-BE87-4CB1-B2C3-EC225BC84503}" destId="{DBC3FD9C-E314-4323-9B7D-DDF7E6162B2C}" srcOrd="1" destOrd="0" presId="urn:microsoft.com/office/officeart/2005/8/layout/list1"/>
    <dgm:cxn modelId="{785304E4-1425-4D24-839F-283D1A05FB09}" type="presOf" srcId="{AAC65004-BCDF-448D-A926-43DE43A3515B}" destId="{0D4DA83C-056B-4BB1-9BF9-29537A694BF3}" srcOrd="1" destOrd="0" presId="urn:microsoft.com/office/officeart/2005/8/layout/list1"/>
    <dgm:cxn modelId="{79BAF660-8058-4197-9E71-AE51482D8A06}" type="presParOf" srcId="{3444698B-0D58-47B9-B47F-37E96D6D06DF}" destId="{31DFF6D3-53B8-45C0-BA21-545E847C8739}" srcOrd="0" destOrd="0" presId="urn:microsoft.com/office/officeart/2005/8/layout/list1"/>
    <dgm:cxn modelId="{48C1DCC9-A6DF-479F-A96B-092F38EBD292}" type="presParOf" srcId="{31DFF6D3-53B8-45C0-BA21-545E847C8739}" destId="{D0491A5E-BC8F-42ED-AE74-0803351A9D4D}" srcOrd="0" destOrd="0" presId="urn:microsoft.com/office/officeart/2005/8/layout/list1"/>
    <dgm:cxn modelId="{C654EAA8-2E09-40D2-B933-F9C0290F0823}" type="presParOf" srcId="{31DFF6D3-53B8-45C0-BA21-545E847C8739}" destId="{DBC3FD9C-E314-4323-9B7D-DDF7E6162B2C}" srcOrd="1" destOrd="0" presId="urn:microsoft.com/office/officeart/2005/8/layout/list1"/>
    <dgm:cxn modelId="{EB162C6E-D199-4894-98F6-3636A334765B}" type="presParOf" srcId="{3444698B-0D58-47B9-B47F-37E96D6D06DF}" destId="{3554B8FF-E8BD-483B-9498-4EA3530F4F9F}" srcOrd="1" destOrd="0" presId="urn:microsoft.com/office/officeart/2005/8/layout/list1"/>
    <dgm:cxn modelId="{38375E45-8E26-456C-AE41-CFC4F7589217}" type="presParOf" srcId="{3444698B-0D58-47B9-B47F-37E96D6D06DF}" destId="{41741120-0049-41B2-92D6-2386613542AF}" srcOrd="2" destOrd="0" presId="urn:microsoft.com/office/officeart/2005/8/layout/list1"/>
    <dgm:cxn modelId="{E7FAE5F7-F145-42B4-A8F0-EEDA74B9B0A7}" type="presParOf" srcId="{3444698B-0D58-47B9-B47F-37E96D6D06DF}" destId="{5D806E26-8ADD-402F-BD75-A028EEB70DAC}" srcOrd="3" destOrd="0" presId="urn:microsoft.com/office/officeart/2005/8/layout/list1"/>
    <dgm:cxn modelId="{5428F9D0-3EC0-4938-A364-68137ECD809D}" type="presParOf" srcId="{3444698B-0D58-47B9-B47F-37E96D6D06DF}" destId="{6B57057F-E025-47D5-B673-0D4A99CD4E66}" srcOrd="4" destOrd="0" presId="urn:microsoft.com/office/officeart/2005/8/layout/list1"/>
    <dgm:cxn modelId="{61A0E39C-5599-4C17-8B43-EE5E43C6898B}" type="presParOf" srcId="{6B57057F-E025-47D5-B673-0D4A99CD4E66}" destId="{70079A3F-9F09-4B2F-8FDD-EBFE95B07D53}" srcOrd="0" destOrd="0" presId="urn:microsoft.com/office/officeart/2005/8/layout/list1"/>
    <dgm:cxn modelId="{A52BD48F-9A66-4F75-B988-BD8BAE70BB3A}" type="presParOf" srcId="{6B57057F-E025-47D5-B673-0D4A99CD4E66}" destId="{0D4DA83C-056B-4BB1-9BF9-29537A694BF3}" srcOrd="1" destOrd="0" presId="urn:microsoft.com/office/officeart/2005/8/layout/list1"/>
    <dgm:cxn modelId="{C1D26D63-FB68-4BC7-A485-67E4204AE005}" type="presParOf" srcId="{3444698B-0D58-47B9-B47F-37E96D6D06DF}" destId="{711D2216-C844-41AE-A94F-6AC54CE7F21A}" srcOrd="5" destOrd="0" presId="urn:microsoft.com/office/officeart/2005/8/layout/list1"/>
    <dgm:cxn modelId="{9AC681BA-5DB4-431A-BED9-542798A03A06}" type="presParOf" srcId="{3444698B-0D58-47B9-B47F-37E96D6D06DF}" destId="{A7876987-67A3-44D3-9E45-705ACD582AA5}" srcOrd="6" destOrd="0" presId="urn:microsoft.com/office/officeart/2005/8/layout/list1"/>
    <dgm:cxn modelId="{00196F3E-0AB7-4623-B51E-50F4FD259AF2}" type="presParOf" srcId="{3444698B-0D58-47B9-B47F-37E96D6D06DF}" destId="{FA72211C-9F94-48FA-A6CF-A619FA63AFAE}" srcOrd="7" destOrd="0" presId="urn:microsoft.com/office/officeart/2005/8/layout/list1"/>
    <dgm:cxn modelId="{4022466A-CC03-444D-B539-125FC1E3D8E9}" type="presParOf" srcId="{3444698B-0D58-47B9-B47F-37E96D6D06DF}" destId="{FBCCF72E-80E2-4564-BD89-6B734344256C}" srcOrd="8" destOrd="0" presId="urn:microsoft.com/office/officeart/2005/8/layout/list1"/>
    <dgm:cxn modelId="{8491B3E2-0CA6-41BA-85F1-707E8F1BFD43}" type="presParOf" srcId="{FBCCF72E-80E2-4564-BD89-6B734344256C}" destId="{B795EA36-CFC4-47D8-93E6-A46071FB32FF}" srcOrd="0" destOrd="0" presId="urn:microsoft.com/office/officeart/2005/8/layout/list1"/>
    <dgm:cxn modelId="{6641BB17-321C-44A9-8F99-1E170DB184D0}" type="presParOf" srcId="{FBCCF72E-80E2-4564-BD89-6B734344256C}" destId="{056C630B-5A70-4AEE-9DAC-BC67ABBF66B0}" srcOrd="1" destOrd="0" presId="urn:microsoft.com/office/officeart/2005/8/layout/list1"/>
    <dgm:cxn modelId="{FA6CF9E6-7308-479C-B20D-6D9359A8D723}" type="presParOf" srcId="{3444698B-0D58-47B9-B47F-37E96D6D06DF}" destId="{5E1413BB-CF05-40FA-B9BB-6016E0409700}" srcOrd="9" destOrd="0" presId="urn:microsoft.com/office/officeart/2005/8/layout/list1"/>
    <dgm:cxn modelId="{AEE94402-D64B-47CC-8D04-ED458AF53BDF}" type="presParOf" srcId="{3444698B-0D58-47B9-B47F-37E96D6D06DF}" destId="{DDA9D4A1-C5A1-44D2-B5D7-1654129DE836}" srcOrd="10" destOrd="0" presId="urn:microsoft.com/office/officeart/2005/8/layout/list1"/>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0E366A0-FE0A-413E-8648-DBB3980CFD14}"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s-PE"/>
        </a:p>
      </dgm:t>
    </dgm:pt>
    <dgm:pt modelId="{F806AE0C-0C43-4476-BA54-48A4CBF60377}">
      <dgm:prSet phldrT="[Texto]" custT="1"/>
      <dgm:spPr>
        <a:solidFill>
          <a:srgbClr val="009999"/>
        </a:solidFill>
      </dgm:spPr>
      <dgm:t>
        <a:bodyPr/>
        <a:lstStyle/>
        <a:p>
          <a:r>
            <a:rPr lang="es-PE" sz="1400" dirty="0"/>
            <a:t>Pre-Producción</a:t>
          </a:r>
        </a:p>
      </dgm:t>
    </dgm:pt>
    <dgm:pt modelId="{87C1167E-3A11-4B89-A3F2-53D1565BE4C4}" type="parTrans" cxnId="{2EF86A1D-D2FB-469B-87D6-E38D7D0B3CFE}">
      <dgm:prSet/>
      <dgm:spPr/>
      <dgm:t>
        <a:bodyPr/>
        <a:lstStyle/>
        <a:p>
          <a:endParaRPr lang="es-PE" sz="1400"/>
        </a:p>
      </dgm:t>
    </dgm:pt>
    <dgm:pt modelId="{B93E7AA3-C234-46F3-BD9F-2ECF395B19F4}" type="sibTrans" cxnId="{2EF86A1D-D2FB-469B-87D6-E38D7D0B3CFE}">
      <dgm:prSet/>
      <dgm:spPr/>
      <dgm:t>
        <a:bodyPr/>
        <a:lstStyle/>
        <a:p>
          <a:endParaRPr lang="es-PE" sz="1400"/>
        </a:p>
      </dgm:t>
    </dgm:pt>
    <dgm:pt modelId="{B2E259F4-DB8A-44F2-A660-33BDF38458FA}">
      <dgm:prSet phldrT="[Texto]" custT="1"/>
      <dgm:spPr>
        <a:solidFill>
          <a:srgbClr val="009999"/>
        </a:solidFill>
      </dgm:spPr>
      <dgm:t>
        <a:bodyPr/>
        <a:lstStyle/>
        <a:p>
          <a:r>
            <a:rPr lang="es-PE" sz="1400" dirty="0"/>
            <a:t>Formato de relevamiento y mapeo para ingesta</a:t>
          </a:r>
        </a:p>
      </dgm:t>
    </dgm:pt>
    <dgm:pt modelId="{7ADDFF7C-D9E6-4265-83BA-577EA2C2642F}" type="parTrans" cxnId="{0944673C-97BA-46ED-82BD-AD2F93E94DE3}">
      <dgm:prSet/>
      <dgm:spPr/>
      <dgm:t>
        <a:bodyPr/>
        <a:lstStyle/>
        <a:p>
          <a:endParaRPr lang="es-PE" sz="1400"/>
        </a:p>
      </dgm:t>
    </dgm:pt>
    <dgm:pt modelId="{6931E490-63C0-4D34-A265-895185C40718}" type="sibTrans" cxnId="{0944673C-97BA-46ED-82BD-AD2F93E94DE3}">
      <dgm:prSet/>
      <dgm:spPr/>
      <dgm:t>
        <a:bodyPr/>
        <a:lstStyle/>
        <a:p>
          <a:endParaRPr lang="es-PE" sz="1400"/>
        </a:p>
      </dgm:t>
    </dgm:pt>
    <dgm:pt modelId="{3D38FFE4-6BA4-43A2-AEEE-035CAACE8DC9}">
      <dgm:prSet phldrT="[Texto]" custT="1"/>
      <dgm:spPr>
        <a:solidFill>
          <a:srgbClr val="009999"/>
        </a:solidFill>
      </dgm:spPr>
      <dgm:t>
        <a:bodyPr/>
        <a:lstStyle/>
        <a:p>
          <a:r>
            <a:rPr lang="es-MX" sz="1400" dirty="0"/>
            <a:t>Registros de los </a:t>
          </a:r>
          <a:r>
            <a:rPr lang="es-MX" sz="1400" dirty="0" err="1"/>
            <a:t>path</a:t>
          </a:r>
          <a:r>
            <a:rPr lang="es-MX" sz="1400" dirty="0"/>
            <a:t> data </a:t>
          </a:r>
          <a:r>
            <a:rPr lang="es-MX" sz="1400" dirty="0" err="1"/>
            <a:t>inventory</a:t>
          </a:r>
          <a:r>
            <a:rPr lang="es-MX" sz="1400" dirty="0"/>
            <a:t> y análisis de equivalencias de datos</a:t>
          </a:r>
          <a:endParaRPr lang="es-PE" sz="1400" dirty="0"/>
        </a:p>
      </dgm:t>
    </dgm:pt>
    <dgm:pt modelId="{7B9DD258-547C-493C-8371-7AA23E34979A}" type="parTrans" cxnId="{2A4D7761-AE78-4AA5-954D-22201DC1215B}">
      <dgm:prSet/>
      <dgm:spPr/>
      <dgm:t>
        <a:bodyPr/>
        <a:lstStyle/>
        <a:p>
          <a:endParaRPr lang="es-PE" sz="1400"/>
        </a:p>
      </dgm:t>
    </dgm:pt>
    <dgm:pt modelId="{FA283D7B-A254-49D8-8ABA-3D35D2991039}" type="sibTrans" cxnId="{2A4D7761-AE78-4AA5-954D-22201DC1215B}">
      <dgm:prSet/>
      <dgm:spPr/>
      <dgm:t>
        <a:bodyPr/>
        <a:lstStyle/>
        <a:p>
          <a:endParaRPr lang="es-PE" sz="1400"/>
        </a:p>
      </dgm:t>
    </dgm:pt>
    <dgm:pt modelId="{78FB1F25-CAAC-447A-A51A-B304BD76D52D}">
      <dgm:prSet phldrT="[Texto]" custT="1"/>
      <dgm:spPr>
        <a:solidFill>
          <a:srgbClr val="009999"/>
        </a:solidFill>
      </dgm:spPr>
      <dgm:t>
        <a:bodyPr/>
        <a:lstStyle/>
        <a:p>
          <a:r>
            <a:rPr lang="es-PE" sz="1400" dirty="0"/>
            <a:t>Diccionario de datos</a:t>
          </a:r>
        </a:p>
      </dgm:t>
    </dgm:pt>
    <dgm:pt modelId="{34783CB4-9296-4C33-B49B-3C0E5CB9C88C}" type="parTrans" cxnId="{9B17A055-29A4-4308-98B6-A412456F7166}">
      <dgm:prSet/>
      <dgm:spPr/>
      <dgm:t>
        <a:bodyPr/>
        <a:lstStyle/>
        <a:p>
          <a:endParaRPr lang="es-PE" sz="1400"/>
        </a:p>
      </dgm:t>
    </dgm:pt>
    <dgm:pt modelId="{60F4AC9D-5C37-43ED-B1A6-62209BEBA5AE}" type="sibTrans" cxnId="{9B17A055-29A4-4308-98B6-A412456F7166}">
      <dgm:prSet/>
      <dgm:spPr/>
      <dgm:t>
        <a:bodyPr/>
        <a:lstStyle/>
        <a:p>
          <a:endParaRPr lang="es-PE" sz="1400"/>
        </a:p>
      </dgm:t>
    </dgm:pt>
    <dgm:pt modelId="{E7C5A65F-FF9E-418F-8B23-830451A1E094}">
      <dgm:prSet phldrT="[Texto]" custT="1"/>
      <dgm:spPr>
        <a:solidFill>
          <a:srgbClr val="009999"/>
        </a:solidFill>
      </dgm:spPr>
      <dgm:t>
        <a:bodyPr/>
        <a:lstStyle/>
        <a:p>
          <a:r>
            <a:rPr lang="es-PE" sz="1400" dirty="0"/>
            <a:t>Definición de reglas de calidad</a:t>
          </a:r>
        </a:p>
      </dgm:t>
    </dgm:pt>
    <dgm:pt modelId="{BF59044A-F22A-4B34-ABB7-036E3EF06C3E}" type="parTrans" cxnId="{7C671748-4E47-4B4B-94C5-261292F7B21B}">
      <dgm:prSet/>
      <dgm:spPr/>
      <dgm:t>
        <a:bodyPr/>
        <a:lstStyle/>
        <a:p>
          <a:endParaRPr lang="es-PE" sz="1400"/>
        </a:p>
      </dgm:t>
    </dgm:pt>
    <dgm:pt modelId="{55CDAF96-B3A8-46A5-AF16-079D0A69ED89}" type="sibTrans" cxnId="{7C671748-4E47-4B4B-94C5-261292F7B21B}">
      <dgm:prSet/>
      <dgm:spPr/>
      <dgm:t>
        <a:bodyPr/>
        <a:lstStyle/>
        <a:p>
          <a:endParaRPr lang="es-PE" sz="1400"/>
        </a:p>
      </dgm:t>
    </dgm:pt>
    <dgm:pt modelId="{E3BA4781-8EBA-415C-8CFF-0B2B77A90663}">
      <dgm:prSet phldrT="[Texto]" custT="1"/>
      <dgm:spPr>
        <a:solidFill>
          <a:srgbClr val="009999"/>
        </a:solidFill>
      </dgm:spPr>
      <dgm:t>
        <a:bodyPr/>
        <a:lstStyle/>
        <a:p>
          <a:r>
            <a:rPr lang="es-PE" sz="1400" dirty="0"/>
            <a:t>Elaboración de matriz de accesos Unity Catalog Databricks</a:t>
          </a:r>
        </a:p>
      </dgm:t>
    </dgm:pt>
    <dgm:pt modelId="{D75CDB28-D6FB-41D0-8EE1-9A7E6B300E3B}" type="parTrans" cxnId="{66FE88E5-FAF0-4D3F-A763-7312A2EE15A5}">
      <dgm:prSet/>
      <dgm:spPr/>
      <dgm:t>
        <a:bodyPr/>
        <a:lstStyle/>
        <a:p>
          <a:endParaRPr lang="es-PE" sz="1400"/>
        </a:p>
      </dgm:t>
    </dgm:pt>
    <dgm:pt modelId="{7EC4B0D5-C55E-4FFD-BDF2-C7CE1962E2C1}" type="sibTrans" cxnId="{66FE88E5-FAF0-4D3F-A763-7312A2EE15A5}">
      <dgm:prSet/>
      <dgm:spPr/>
      <dgm:t>
        <a:bodyPr/>
        <a:lstStyle/>
        <a:p>
          <a:endParaRPr lang="es-PE" sz="1400"/>
        </a:p>
      </dgm:t>
    </dgm:pt>
    <dgm:pt modelId="{B732A281-5EFE-4609-A5B7-CA9807283835}" type="pres">
      <dgm:prSet presAssocID="{A0E366A0-FE0A-413E-8648-DBB3980CFD14}" presName="hierChild1" presStyleCnt="0">
        <dgm:presLayoutVars>
          <dgm:orgChart val="1"/>
          <dgm:chPref val="1"/>
          <dgm:dir/>
          <dgm:animOne val="branch"/>
          <dgm:animLvl val="lvl"/>
          <dgm:resizeHandles/>
        </dgm:presLayoutVars>
      </dgm:prSet>
      <dgm:spPr/>
    </dgm:pt>
    <dgm:pt modelId="{A9BB9323-E6F0-442E-80A4-C34E475E9028}" type="pres">
      <dgm:prSet presAssocID="{F806AE0C-0C43-4476-BA54-48A4CBF60377}" presName="hierRoot1" presStyleCnt="0">
        <dgm:presLayoutVars>
          <dgm:hierBranch val="init"/>
        </dgm:presLayoutVars>
      </dgm:prSet>
      <dgm:spPr/>
    </dgm:pt>
    <dgm:pt modelId="{45FABAFD-2D2A-4FB4-99E0-48395B8C8554}" type="pres">
      <dgm:prSet presAssocID="{F806AE0C-0C43-4476-BA54-48A4CBF60377}" presName="rootComposite1" presStyleCnt="0"/>
      <dgm:spPr/>
    </dgm:pt>
    <dgm:pt modelId="{973ED5B3-12DA-4A3F-8BD7-BB0ED78F8DDD}" type="pres">
      <dgm:prSet presAssocID="{F806AE0C-0C43-4476-BA54-48A4CBF60377}" presName="rootText1" presStyleLbl="node0" presStyleIdx="0" presStyleCnt="1">
        <dgm:presLayoutVars>
          <dgm:chPref val="3"/>
        </dgm:presLayoutVars>
      </dgm:prSet>
      <dgm:spPr/>
    </dgm:pt>
    <dgm:pt modelId="{A71EDE1A-A684-47AA-8494-1EA13466415C}" type="pres">
      <dgm:prSet presAssocID="{F806AE0C-0C43-4476-BA54-48A4CBF60377}" presName="rootConnector1" presStyleLbl="node1" presStyleIdx="0" presStyleCnt="0"/>
      <dgm:spPr/>
    </dgm:pt>
    <dgm:pt modelId="{470A1AAD-E86B-4C0B-8BFC-5697F79B6CFE}" type="pres">
      <dgm:prSet presAssocID="{F806AE0C-0C43-4476-BA54-48A4CBF60377}" presName="hierChild2" presStyleCnt="0"/>
      <dgm:spPr/>
    </dgm:pt>
    <dgm:pt modelId="{5B2ED020-D078-4EF1-9B69-3319175DB247}" type="pres">
      <dgm:prSet presAssocID="{7ADDFF7C-D9E6-4265-83BA-577EA2C2642F}" presName="Name37" presStyleLbl="parChTrans1D2" presStyleIdx="0" presStyleCnt="5"/>
      <dgm:spPr/>
    </dgm:pt>
    <dgm:pt modelId="{2149361A-325B-493D-8F48-B9DFFB25B942}" type="pres">
      <dgm:prSet presAssocID="{B2E259F4-DB8A-44F2-A660-33BDF38458FA}" presName="hierRoot2" presStyleCnt="0">
        <dgm:presLayoutVars>
          <dgm:hierBranch val="init"/>
        </dgm:presLayoutVars>
      </dgm:prSet>
      <dgm:spPr/>
    </dgm:pt>
    <dgm:pt modelId="{EB2E1491-609A-4642-9A68-0EC4E1B33000}" type="pres">
      <dgm:prSet presAssocID="{B2E259F4-DB8A-44F2-A660-33BDF38458FA}" presName="rootComposite" presStyleCnt="0"/>
      <dgm:spPr/>
    </dgm:pt>
    <dgm:pt modelId="{F893B5C8-4BE4-497A-AE33-5930B73E1927}" type="pres">
      <dgm:prSet presAssocID="{B2E259F4-DB8A-44F2-A660-33BDF38458FA}" presName="rootText" presStyleLbl="node2" presStyleIdx="0" presStyleCnt="5">
        <dgm:presLayoutVars>
          <dgm:chPref val="3"/>
        </dgm:presLayoutVars>
      </dgm:prSet>
      <dgm:spPr/>
    </dgm:pt>
    <dgm:pt modelId="{E6704D7D-7BD4-4C26-8B0C-BD188B2010F8}" type="pres">
      <dgm:prSet presAssocID="{B2E259F4-DB8A-44F2-A660-33BDF38458FA}" presName="rootConnector" presStyleLbl="node2" presStyleIdx="0" presStyleCnt="5"/>
      <dgm:spPr/>
    </dgm:pt>
    <dgm:pt modelId="{513D5AB9-0808-4029-AAF2-D13D44C34D66}" type="pres">
      <dgm:prSet presAssocID="{B2E259F4-DB8A-44F2-A660-33BDF38458FA}" presName="hierChild4" presStyleCnt="0"/>
      <dgm:spPr/>
    </dgm:pt>
    <dgm:pt modelId="{51E925C0-1B0F-483B-AF3A-09CDE1003EE9}" type="pres">
      <dgm:prSet presAssocID="{B2E259F4-DB8A-44F2-A660-33BDF38458FA}" presName="hierChild5" presStyleCnt="0"/>
      <dgm:spPr/>
    </dgm:pt>
    <dgm:pt modelId="{9BE6A244-7441-4699-BA40-6FF473AC95F1}" type="pres">
      <dgm:prSet presAssocID="{7B9DD258-547C-493C-8371-7AA23E34979A}" presName="Name37" presStyleLbl="parChTrans1D2" presStyleIdx="1" presStyleCnt="5"/>
      <dgm:spPr/>
    </dgm:pt>
    <dgm:pt modelId="{473888BD-786E-401F-9AC2-B794BB5A46AB}" type="pres">
      <dgm:prSet presAssocID="{3D38FFE4-6BA4-43A2-AEEE-035CAACE8DC9}" presName="hierRoot2" presStyleCnt="0">
        <dgm:presLayoutVars>
          <dgm:hierBranch val="init"/>
        </dgm:presLayoutVars>
      </dgm:prSet>
      <dgm:spPr/>
    </dgm:pt>
    <dgm:pt modelId="{D1FF19A2-5BAB-4998-A863-CE5BE62FBAD1}" type="pres">
      <dgm:prSet presAssocID="{3D38FFE4-6BA4-43A2-AEEE-035CAACE8DC9}" presName="rootComposite" presStyleCnt="0"/>
      <dgm:spPr/>
    </dgm:pt>
    <dgm:pt modelId="{83099111-BD0B-477D-BDE1-988F5649BCB5}" type="pres">
      <dgm:prSet presAssocID="{3D38FFE4-6BA4-43A2-AEEE-035CAACE8DC9}" presName="rootText" presStyleLbl="node2" presStyleIdx="1" presStyleCnt="5">
        <dgm:presLayoutVars>
          <dgm:chPref val="3"/>
        </dgm:presLayoutVars>
      </dgm:prSet>
      <dgm:spPr/>
    </dgm:pt>
    <dgm:pt modelId="{25EB5FBF-7F46-4EEA-8F9D-07109E222F83}" type="pres">
      <dgm:prSet presAssocID="{3D38FFE4-6BA4-43A2-AEEE-035CAACE8DC9}" presName="rootConnector" presStyleLbl="node2" presStyleIdx="1" presStyleCnt="5"/>
      <dgm:spPr/>
    </dgm:pt>
    <dgm:pt modelId="{74466EAE-ED43-4E06-88B3-36A889C697F8}" type="pres">
      <dgm:prSet presAssocID="{3D38FFE4-6BA4-43A2-AEEE-035CAACE8DC9}" presName="hierChild4" presStyleCnt="0"/>
      <dgm:spPr/>
    </dgm:pt>
    <dgm:pt modelId="{D42DC16B-9D9A-43A9-8328-68945CDFC286}" type="pres">
      <dgm:prSet presAssocID="{3D38FFE4-6BA4-43A2-AEEE-035CAACE8DC9}" presName="hierChild5" presStyleCnt="0"/>
      <dgm:spPr/>
    </dgm:pt>
    <dgm:pt modelId="{934367BA-4EB5-4A8C-B75E-2FFBCE1CFAC9}" type="pres">
      <dgm:prSet presAssocID="{34783CB4-9296-4C33-B49B-3C0E5CB9C88C}" presName="Name37" presStyleLbl="parChTrans1D2" presStyleIdx="2" presStyleCnt="5"/>
      <dgm:spPr/>
    </dgm:pt>
    <dgm:pt modelId="{7BF559C3-1091-4176-A469-0EA91D3DC9FF}" type="pres">
      <dgm:prSet presAssocID="{78FB1F25-CAAC-447A-A51A-B304BD76D52D}" presName="hierRoot2" presStyleCnt="0">
        <dgm:presLayoutVars>
          <dgm:hierBranch val="init"/>
        </dgm:presLayoutVars>
      </dgm:prSet>
      <dgm:spPr/>
    </dgm:pt>
    <dgm:pt modelId="{8E5973B7-A066-448A-AC8E-262878CCA629}" type="pres">
      <dgm:prSet presAssocID="{78FB1F25-CAAC-447A-A51A-B304BD76D52D}" presName="rootComposite" presStyleCnt="0"/>
      <dgm:spPr/>
    </dgm:pt>
    <dgm:pt modelId="{B3357C74-ADFC-4DAE-9B34-DD9154FB0E62}" type="pres">
      <dgm:prSet presAssocID="{78FB1F25-CAAC-447A-A51A-B304BD76D52D}" presName="rootText" presStyleLbl="node2" presStyleIdx="2" presStyleCnt="5">
        <dgm:presLayoutVars>
          <dgm:chPref val="3"/>
        </dgm:presLayoutVars>
      </dgm:prSet>
      <dgm:spPr/>
    </dgm:pt>
    <dgm:pt modelId="{8ABD5680-8714-40E0-87E6-B241C45F9800}" type="pres">
      <dgm:prSet presAssocID="{78FB1F25-CAAC-447A-A51A-B304BD76D52D}" presName="rootConnector" presStyleLbl="node2" presStyleIdx="2" presStyleCnt="5"/>
      <dgm:spPr/>
    </dgm:pt>
    <dgm:pt modelId="{A8AB408D-1C19-4D69-AD79-BC9386087D57}" type="pres">
      <dgm:prSet presAssocID="{78FB1F25-CAAC-447A-A51A-B304BD76D52D}" presName="hierChild4" presStyleCnt="0"/>
      <dgm:spPr/>
    </dgm:pt>
    <dgm:pt modelId="{555B40D3-69A4-4D73-89B7-BA913D078CF8}" type="pres">
      <dgm:prSet presAssocID="{78FB1F25-CAAC-447A-A51A-B304BD76D52D}" presName="hierChild5" presStyleCnt="0"/>
      <dgm:spPr/>
    </dgm:pt>
    <dgm:pt modelId="{F0046BBF-9E1B-462D-9B36-80D688F8A8D2}" type="pres">
      <dgm:prSet presAssocID="{BF59044A-F22A-4B34-ABB7-036E3EF06C3E}" presName="Name37" presStyleLbl="parChTrans1D2" presStyleIdx="3" presStyleCnt="5"/>
      <dgm:spPr/>
    </dgm:pt>
    <dgm:pt modelId="{D8BFD4D3-F4B0-4323-A7DD-2C1B15E0631A}" type="pres">
      <dgm:prSet presAssocID="{E7C5A65F-FF9E-418F-8B23-830451A1E094}" presName="hierRoot2" presStyleCnt="0">
        <dgm:presLayoutVars>
          <dgm:hierBranch val="init"/>
        </dgm:presLayoutVars>
      </dgm:prSet>
      <dgm:spPr/>
    </dgm:pt>
    <dgm:pt modelId="{9F143FDF-4B8E-417F-A4DC-89804344EE23}" type="pres">
      <dgm:prSet presAssocID="{E7C5A65F-FF9E-418F-8B23-830451A1E094}" presName="rootComposite" presStyleCnt="0"/>
      <dgm:spPr/>
    </dgm:pt>
    <dgm:pt modelId="{C2CBDC68-244A-469B-9172-49EA35CF49E3}" type="pres">
      <dgm:prSet presAssocID="{E7C5A65F-FF9E-418F-8B23-830451A1E094}" presName="rootText" presStyleLbl="node2" presStyleIdx="3" presStyleCnt="5">
        <dgm:presLayoutVars>
          <dgm:chPref val="3"/>
        </dgm:presLayoutVars>
      </dgm:prSet>
      <dgm:spPr/>
    </dgm:pt>
    <dgm:pt modelId="{0A0FF115-E4E8-4C44-851D-26ABD045522F}" type="pres">
      <dgm:prSet presAssocID="{E7C5A65F-FF9E-418F-8B23-830451A1E094}" presName="rootConnector" presStyleLbl="node2" presStyleIdx="3" presStyleCnt="5"/>
      <dgm:spPr/>
    </dgm:pt>
    <dgm:pt modelId="{226D399E-3C0E-4469-9D38-5D20B7B1F68D}" type="pres">
      <dgm:prSet presAssocID="{E7C5A65F-FF9E-418F-8B23-830451A1E094}" presName="hierChild4" presStyleCnt="0"/>
      <dgm:spPr/>
    </dgm:pt>
    <dgm:pt modelId="{7B1DC5DE-F479-4EFC-B2F3-570CF390BDA4}" type="pres">
      <dgm:prSet presAssocID="{E7C5A65F-FF9E-418F-8B23-830451A1E094}" presName="hierChild5" presStyleCnt="0"/>
      <dgm:spPr/>
    </dgm:pt>
    <dgm:pt modelId="{15391F0E-EEA9-4D4B-B406-7091E9058C41}" type="pres">
      <dgm:prSet presAssocID="{D75CDB28-D6FB-41D0-8EE1-9A7E6B300E3B}" presName="Name37" presStyleLbl="parChTrans1D2" presStyleIdx="4" presStyleCnt="5"/>
      <dgm:spPr/>
    </dgm:pt>
    <dgm:pt modelId="{AB495404-3949-4A8E-9080-B96DBBAC2F5C}" type="pres">
      <dgm:prSet presAssocID="{E3BA4781-8EBA-415C-8CFF-0B2B77A90663}" presName="hierRoot2" presStyleCnt="0">
        <dgm:presLayoutVars>
          <dgm:hierBranch val="init"/>
        </dgm:presLayoutVars>
      </dgm:prSet>
      <dgm:spPr/>
    </dgm:pt>
    <dgm:pt modelId="{D5B438E7-7104-473C-91DC-825321147F03}" type="pres">
      <dgm:prSet presAssocID="{E3BA4781-8EBA-415C-8CFF-0B2B77A90663}" presName="rootComposite" presStyleCnt="0"/>
      <dgm:spPr/>
    </dgm:pt>
    <dgm:pt modelId="{C46CDA02-76D0-4269-AA5D-60DBD9C508E8}" type="pres">
      <dgm:prSet presAssocID="{E3BA4781-8EBA-415C-8CFF-0B2B77A90663}" presName="rootText" presStyleLbl="node2" presStyleIdx="4" presStyleCnt="5">
        <dgm:presLayoutVars>
          <dgm:chPref val="3"/>
        </dgm:presLayoutVars>
      </dgm:prSet>
      <dgm:spPr/>
    </dgm:pt>
    <dgm:pt modelId="{DC76F0B2-8B05-4150-A094-E86ACBDD0B65}" type="pres">
      <dgm:prSet presAssocID="{E3BA4781-8EBA-415C-8CFF-0B2B77A90663}" presName="rootConnector" presStyleLbl="node2" presStyleIdx="4" presStyleCnt="5"/>
      <dgm:spPr/>
    </dgm:pt>
    <dgm:pt modelId="{C23BB63D-5EEC-4ED3-A223-8FEBAAD9D388}" type="pres">
      <dgm:prSet presAssocID="{E3BA4781-8EBA-415C-8CFF-0B2B77A90663}" presName="hierChild4" presStyleCnt="0"/>
      <dgm:spPr/>
    </dgm:pt>
    <dgm:pt modelId="{8F66F564-D2F1-4419-B7D8-31C1117927F4}" type="pres">
      <dgm:prSet presAssocID="{E3BA4781-8EBA-415C-8CFF-0B2B77A90663}" presName="hierChild5" presStyleCnt="0"/>
      <dgm:spPr/>
    </dgm:pt>
    <dgm:pt modelId="{267E7187-7D79-4325-B04F-274047083124}" type="pres">
      <dgm:prSet presAssocID="{F806AE0C-0C43-4476-BA54-48A4CBF60377}" presName="hierChild3" presStyleCnt="0"/>
      <dgm:spPr/>
    </dgm:pt>
  </dgm:ptLst>
  <dgm:cxnLst>
    <dgm:cxn modelId="{1FAEDD08-52F7-44B9-9F10-62D46EB4755F}" type="presOf" srcId="{7B9DD258-547C-493C-8371-7AA23E34979A}" destId="{9BE6A244-7441-4699-BA40-6FF473AC95F1}" srcOrd="0" destOrd="0" presId="urn:microsoft.com/office/officeart/2005/8/layout/orgChart1"/>
    <dgm:cxn modelId="{D9804214-3190-46A6-8ADD-47FEDBA665BF}" type="presOf" srcId="{B2E259F4-DB8A-44F2-A660-33BDF38458FA}" destId="{E6704D7D-7BD4-4C26-8B0C-BD188B2010F8}" srcOrd="1" destOrd="0" presId="urn:microsoft.com/office/officeart/2005/8/layout/orgChart1"/>
    <dgm:cxn modelId="{181DCD1A-98CD-450F-9931-41B43F461672}" type="presOf" srcId="{78FB1F25-CAAC-447A-A51A-B304BD76D52D}" destId="{8ABD5680-8714-40E0-87E6-B241C45F9800}" srcOrd="1" destOrd="0" presId="urn:microsoft.com/office/officeart/2005/8/layout/orgChart1"/>
    <dgm:cxn modelId="{2EF86A1D-D2FB-469B-87D6-E38D7D0B3CFE}" srcId="{A0E366A0-FE0A-413E-8648-DBB3980CFD14}" destId="{F806AE0C-0C43-4476-BA54-48A4CBF60377}" srcOrd="0" destOrd="0" parTransId="{87C1167E-3A11-4B89-A3F2-53D1565BE4C4}" sibTransId="{B93E7AA3-C234-46F3-BD9F-2ECF395B19F4}"/>
    <dgm:cxn modelId="{41C7F027-2E09-403D-9FB2-74E6DC7014BD}" type="presOf" srcId="{E7C5A65F-FF9E-418F-8B23-830451A1E094}" destId="{C2CBDC68-244A-469B-9172-49EA35CF49E3}" srcOrd="0" destOrd="0" presId="urn:microsoft.com/office/officeart/2005/8/layout/orgChart1"/>
    <dgm:cxn modelId="{AA0E2336-B68D-4D1B-B1E1-C3DC33053C7D}" type="presOf" srcId="{34783CB4-9296-4C33-B49B-3C0E5CB9C88C}" destId="{934367BA-4EB5-4A8C-B75E-2FFBCE1CFAC9}" srcOrd="0" destOrd="0" presId="urn:microsoft.com/office/officeart/2005/8/layout/orgChart1"/>
    <dgm:cxn modelId="{0944673C-97BA-46ED-82BD-AD2F93E94DE3}" srcId="{F806AE0C-0C43-4476-BA54-48A4CBF60377}" destId="{B2E259F4-DB8A-44F2-A660-33BDF38458FA}" srcOrd="0" destOrd="0" parTransId="{7ADDFF7C-D9E6-4265-83BA-577EA2C2642F}" sibTransId="{6931E490-63C0-4D34-A265-895185C40718}"/>
    <dgm:cxn modelId="{2A4D7761-AE78-4AA5-954D-22201DC1215B}" srcId="{F806AE0C-0C43-4476-BA54-48A4CBF60377}" destId="{3D38FFE4-6BA4-43A2-AEEE-035CAACE8DC9}" srcOrd="1" destOrd="0" parTransId="{7B9DD258-547C-493C-8371-7AA23E34979A}" sibTransId="{FA283D7B-A254-49D8-8ABA-3D35D2991039}"/>
    <dgm:cxn modelId="{082DD643-6CDF-458E-A4C1-D5B7DEE3D020}" type="presOf" srcId="{78FB1F25-CAAC-447A-A51A-B304BD76D52D}" destId="{B3357C74-ADFC-4DAE-9B34-DD9154FB0E62}" srcOrd="0" destOrd="0" presId="urn:microsoft.com/office/officeart/2005/8/layout/orgChart1"/>
    <dgm:cxn modelId="{7C671748-4E47-4B4B-94C5-261292F7B21B}" srcId="{F806AE0C-0C43-4476-BA54-48A4CBF60377}" destId="{E7C5A65F-FF9E-418F-8B23-830451A1E094}" srcOrd="3" destOrd="0" parTransId="{BF59044A-F22A-4B34-ABB7-036E3EF06C3E}" sibTransId="{55CDAF96-B3A8-46A5-AF16-079D0A69ED89}"/>
    <dgm:cxn modelId="{324DC251-EF2F-45AE-82B1-C31300C40CA2}" type="presOf" srcId="{E7C5A65F-FF9E-418F-8B23-830451A1E094}" destId="{0A0FF115-E4E8-4C44-851D-26ABD045522F}" srcOrd="1" destOrd="0" presId="urn:microsoft.com/office/officeart/2005/8/layout/orgChart1"/>
    <dgm:cxn modelId="{9B17A055-29A4-4308-98B6-A412456F7166}" srcId="{F806AE0C-0C43-4476-BA54-48A4CBF60377}" destId="{78FB1F25-CAAC-447A-A51A-B304BD76D52D}" srcOrd="2" destOrd="0" parTransId="{34783CB4-9296-4C33-B49B-3C0E5CB9C88C}" sibTransId="{60F4AC9D-5C37-43ED-B1A6-62209BEBA5AE}"/>
    <dgm:cxn modelId="{E663AA77-E753-40C7-B28A-E1D5950C80CD}" type="presOf" srcId="{D75CDB28-D6FB-41D0-8EE1-9A7E6B300E3B}" destId="{15391F0E-EEA9-4D4B-B406-7091E9058C41}" srcOrd="0" destOrd="0" presId="urn:microsoft.com/office/officeart/2005/8/layout/orgChart1"/>
    <dgm:cxn modelId="{23BB3458-606F-4C95-B6C1-93857EE07777}" type="presOf" srcId="{BF59044A-F22A-4B34-ABB7-036E3EF06C3E}" destId="{F0046BBF-9E1B-462D-9B36-80D688F8A8D2}" srcOrd="0" destOrd="0" presId="urn:microsoft.com/office/officeart/2005/8/layout/orgChart1"/>
    <dgm:cxn modelId="{D9310659-286E-4457-A89A-326A34C35FDD}" type="presOf" srcId="{3D38FFE4-6BA4-43A2-AEEE-035CAACE8DC9}" destId="{25EB5FBF-7F46-4EEA-8F9D-07109E222F83}" srcOrd="1" destOrd="0" presId="urn:microsoft.com/office/officeart/2005/8/layout/orgChart1"/>
    <dgm:cxn modelId="{E70F1A7D-BA6B-45C7-B793-096900A04914}" type="presOf" srcId="{E3BA4781-8EBA-415C-8CFF-0B2B77A90663}" destId="{C46CDA02-76D0-4269-AA5D-60DBD9C508E8}" srcOrd="0" destOrd="0" presId="urn:microsoft.com/office/officeart/2005/8/layout/orgChart1"/>
    <dgm:cxn modelId="{11EE2181-3529-4B63-A827-19EE46A6B959}" type="presOf" srcId="{7ADDFF7C-D9E6-4265-83BA-577EA2C2642F}" destId="{5B2ED020-D078-4EF1-9B69-3319175DB247}" srcOrd="0" destOrd="0" presId="urn:microsoft.com/office/officeart/2005/8/layout/orgChart1"/>
    <dgm:cxn modelId="{17AC7C95-8111-49AB-A811-9520163C86A2}" type="presOf" srcId="{3D38FFE4-6BA4-43A2-AEEE-035CAACE8DC9}" destId="{83099111-BD0B-477D-BDE1-988F5649BCB5}" srcOrd="0" destOrd="0" presId="urn:microsoft.com/office/officeart/2005/8/layout/orgChart1"/>
    <dgm:cxn modelId="{7C845398-F229-4364-8D49-A70B51786818}" type="presOf" srcId="{A0E366A0-FE0A-413E-8648-DBB3980CFD14}" destId="{B732A281-5EFE-4609-A5B7-CA9807283835}" srcOrd="0" destOrd="0" presId="urn:microsoft.com/office/officeart/2005/8/layout/orgChart1"/>
    <dgm:cxn modelId="{B127E8B7-EECC-473F-950C-46B35B5D05E4}" type="presOf" srcId="{B2E259F4-DB8A-44F2-A660-33BDF38458FA}" destId="{F893B5C8-4BE4-497A-AE33-5930B73E1927}" srcOrd="0" destOrd="0" presId="urn:microsoft.com/office/officeart/2005/8/layout/orgChart1"/>
    <dgm:cxn modelId="{66FE88E5-FAF0-4D3F-A763-7312A2EE15A5}" srcId="{F806AE0C-0C43-4476-BA54-48A4CBF60377}" destId="{E3BA4781-8EBA-415C-8CFF-0B2B77A90663}" srcOrd="4" destOrd="0" parTransId="{D75CDB28-D6FB-41D0-8EE1-9A7E6B300E3B}" sibTransId="{7EC4B0D5-C55E-4FFD-BDF2-C7CE1962E2C1}"/>
    <dgm:cxn modelId="{B450E2EE-E4B1-4C48-A14D-42F13C01171F}" type="presOf" srcId="{F806AE0C-0C43-4476-BA54-48A4CBF60377}" destId="{973ED5B3-12DA-4A3F-8BD7-BB0ED78F8DDD}" srcOrd="0" destOrd="0" presId="urn:microsoft.com/office/officeart/2005/8/layout/orgChart1"/>
    <dgm:cxn modelId="{7D59C8F9-8898-4628-B546-9328A6AD0226}" type="presOf" srcId="{E3BA4781-8EBA-415C-8CFF-0B2B77A90663}" destId="{DC76F0B2-8B05-4150-A094-E86ACBDD0B65}" srcOrd="1" destOrd="0" presId="urn:microsoft.com/office/officeart/2005/8/layout/orgChart1"/>
    <dgm:cxn modelId="{D0F3E7FA-9327-44B5-ABF0-38094C1CB55D}" type="presOf" srcId="{F806AE0C-0C43-4476-BA54-48A4CBF60377}" destId="{A71EDE1A-A684-47AA-8494-1EA13466415C}" srcOrd="1" destOrd="0" presId="urn:microsoft.com/office/officeart/2005/8/layout/orgChart1"/>
    <dgm:cxn modelId="{4A61B5D5-0F18-41EE-901A-1DF14FAF1F73}" type="presParOf" srcId="{B732A281-5EFE-4609-A5B7-CA9807283835}" destId="{A9BB9323-E6F0-442E-80A4-C34E475E9028}" srcOrd="0" destOrd="0" presId="urn:microsoft.com/office/officeart/2005/8/layout/orgChart1"/>
    <dgm:cxn modelId="{6FF651FC-EB8F-4885-B11F-66E08E9A31A0}" type="presParOf" srcId="{A9BB9323-E6F0-442E-80A4-C34E475E9028}" destId="{45FABAFD-2D2A-4FB4-99E0-48395B8C8554}" srcOrd="0" destOrd="0" presId="urn:microsoft.com/office/officeart/2005/8/layout/orgChart1"/>
    <dgm:cxn modelId="{2B337E91-ACCE-42B9-BB71-2D2B2B1F0866}" type="presParOf" srcId="{45FABAFD-2D2A-4FB4-99E0-48395B8C8554}" destId="{973ED5B3-12DA-4A3F-8BD7-BB0ED78F8DDD}" srcOrd="0" destOrd="0" presId="urn:microsoft.com/office/officeart/2005/8/layout/orgChart1"/>
    <dgm:cxn modelId="{2D7A1027-B793-44D7-B832-CB2D4F045771}" type="presParOf" srcId="{45FABAFD-2D2A-4FB4-99E0-48395B8C8554}" destId="{A71EDE1A-A684-47AA-8494-1EA13466415C}" srcOrd="1" destOrd="0" presId="urn:microsoft.com/office/officeart/2005/8/layout/orgChart1"/>
    <dgm:cxn modelId="{C11EB15D-D24A-4D14-81D1-1B4F5D0B99C0}" type="presParOf" srcId="{A9BB9323-E6F0-442E-80A4-C34E475E9028}" destId="{470A1AAD-E86B-4C0B-8BFC-5697F79B6CFE}" srcOrd="1" destOrd="0" presId="urn:microsoft.com/office/officeart/2005/8/layout/orgChart1"/>
    <dgm:cxn modelId="{DC0ED25A-0522-4EEE-BBCE-F2BD2FD51B38}" type="presParOf" srcId="{470A1AAD-E86B-4C0B-8BFC-5697F79B6CFE}" destId="{5B2ED020-D078-4EF1-9B69-3319175DB247}" srcOrd="0" destOrd="0" presId="urn:microsoft.com/office/officeart/2005/8/layout/orgChart1"/>
    <dgm:cxn modelId="{0FFB0970-071A-403D-93DB-30CB3118327D}" type="presParOf" srcId="{470A1AAD-E86B-4C0B-8BFC-5697F79B6CFE}" destId="{2149361A-325B-493D-8F48-B9DFFB25B942}" srcOrd="1" destOrd="0" presId="urn:microsoft.com/office/officeart/2005/8/layout/orgChart1"/>
    <dgm:cxn modelId="{C4958ECF-F06B-4AEF-A417-6DDF3163A752}" type="presParOf" srcId="{2149361A-325B-493D-8F48-B9DFFB25B942}" destId="{EB2E1491-609A-4642-9A68-0EC4E1B33000}" srcOrd="0" destOrd="0" presId="urn:microsoft.com/office/officeart/2005/8/layout/orgChart1"/>
    <dgm:cxn modelId="{1C643DFA-8B99-4F1A-8B2B-4C1152401A0B}" type="presParOf" srcId="{EB2E1491-609A-4642-9A68-0EC4E1B33000}" destId="{F893B5C8-4BE4-497A-AE33-5930B73E1927}" srcOrd="0" destOrd="0" presId="urn:microsoft.com/office/officeart/2005/8/layout/orgChart1"/>
    <dgm:cxn modelId="{2F393480-8AAD-4B7E-911A-10503574E375}" type="presParOf" srcId="{EB2E1491-609A-4642-9A68-0EC4E1B33000}" destId="{E6704D7D-7BD4-4C26-8B0C-BD188B2010F8}" srcOrd="1" destOrd="0" presId="urn:microsoft.com/office/officeart/2005/8/layout/orgChart1"/>
    <dgm:cxn modelId="{7F3516A5-E1DA-49C2-B4E2-9A86382662C7}" type="presParOf" srcId="{2149361A-325B-493D-8F48-B9DFFB25B942}" destId="{513D5AB9-0808-4029-AAF2-D13D44C34D66}" srcOrd="1" destOrd="0" presId="urn:microsoft.com/office/officeart/2005/8/layout/orgChart1"/>
    <dgm:cxn modelId="{850F0CF1-5ADD-4EA4-8F1D-DE7226120F61}" type="presParOf" srcId="{2149361A-325B-493D-8F48-B9DFFB25B942}" destId="{51E925C0-1B0F-483B-AF3A-09CDE1003EE9}" srcOrd="2" destOrd="0" presId="urn:microsoft.com/office/officeart/2005/8/layout/orgChart1"/>
    <dgm:cxn modelId="{1AA9E63F-BC3F-46BC-B32D-1F29DAD0AF01}" type="presParOf" srcId="{470A1AAD-E86B-4C0B-8BFC-5697F79B6CFE}" destId="{9BE6A244-7441-4699-BA40-6FF473AC95F1}" srcOrd="2" destOrd="0" presId="urn:microsoft.com/office/officeart/2005/8/layout/orgChart1"/>
    <dgm:cxn modelId="{E566FAA7-171F-401C-BD64-3C0C07BEF276}" type="presParOf" srcId="{470A1AAD-E86B-4C0B-8BFC-5697F79B6CFE}" destId="{473888BD-786E-401F-9AC2-B794BB5A46AB}" srcOrd="3" destOrd="0" presId="urn:microsoft.com/office/officeart/2005/8/layout/orgChart1"/>
    <dgm:cxn modelId="{A9CE63FA-2819-415C-AE12-1B69A1222933}" type="presParOf" srcId="{473888BD-786E-401F-9AC2-B794BB5A46AB}" destId="{D1FF19A2-5BAB-4998-A863-CE5BE62FBAD1}" srcOrd="0" destOrd="0" presId="urn:microsoft.com/office/officeart/2005/8/layout/orgChart1"/>
    <dgm:cxn modelId="{88200959-5DFA-42D5-87B1-B9A7AB2077ED}" type="presParOf" srcId="{D1FF19A2-5BAB-4998-A863-CE5BE62FBAD1}" destId="{83099111-BD0B-477D-BDE1-988F5649BCB5}" srcOrd="0" destOrd="0" presId="urn:microsoft.com/office/officeart/2005/8/layout/orgChart1"/>
    <dgm:cxn modelId="{D39F3107-F3B4-4429-84DE-AA316DEE3480}" type="presParOf" srcId="{D1FF19A2-5BAB-4998-A863-CE5BE62FBAD1}" destId="{25EB5FBF-7F46-4EEA-8F9D-07109E222F83}" srcOrd="1" destOrd="0" presId="urn:microsoft.com/office/officeart/2005/8/layout/orgChart1"/>
    <dgm:cxn modelId="{727A322B-C90A-4C25-8F5D-793F6D0B0EF8}" type="presParOf" srcId="{473888BD-786E-401F-9AC2-B794BB5A46AB}" destId="{74466EAE-ED43-4E06-88B3-36A889C697F8}" srcOrd="1" destOrd="0" presId="urn:microsoft.com/office/officeart/2005/8/layout/orgChart1"/>
    <dgm:cxn modelId="{23C22A11-783C-4C9B-A81C-FDFB938ABBD7}" type="presParOf" srcId="{473888BD-786E-401F-9AC2-B794BB5A46AB}" destId="{D42DC16B-9D9A-43A9-8328-68945CDFC286}" srcOrd="2" destOrd="0" presId="urn:microsoft.com/office/officeart/2005/8/layout/orgChart1"/>
    <dgm:cxn modelId="{15AE7C91-C102-480D-B96C-41B88BD013C4}" type="presParOf" srcId="{470A1AAD-E86B-4C0B-8BFC-5697F79B6CFE}" destId="{934367BA-4EB5-4A8C-B75E-2FFBCE1CFAC9}" srcOrd="4" destOrd="0" presId="urn:microsoft.com/office/officeart/2005/8/layout/orgChart1"/>
    <dgm:cxn modelId="{DFB2FF95-4EA1-48F8-9720-EDAA365F3B3C}" type="presParOf" srcId="{470A1AAD-E86B-4C0B-8BFC-5697F79B6CFE}" destId="{7BF559C3-1091-4176-A469-0EA91D3DC9FF}" srcOrd="5" destOrd="0" presId="urn:microsoft.com/office/officeart/2005/8/layout/orgChart1"/>
    <dgm:cxn modelId="{7D636B27-3F86-47AC-A48D-A512D207547A}" type="presParOf" srcId="{7BF559C3-1091-4176-A469-0EA91D3DC9FF}" destId="{8E5973B7-A066-448A-AC8E-262878CCA629}" srcOrd="0" destOrd="0" presId="urn:microsoft.com/office/officeart/2005/8/layout/orgChart1"/>
    <dgm:cxn modelId="{54E7DAD4-846E-441E-8535-99489F187555}" type="presParOf" srcId="{8E5973B7-A066-448A-AC8E-262878CCA629}" destId="{B3357C74-ADFC-4DAE-9B34-DD9154FB0E62}" srcOrd="0" destOrd="0" presId="urn:microsoft.com/office/officeart/2005/8/layout/orgChart1"/>
    <dgm:cxn modelId="{4A2A8822-1A20-44BF-8469-233246101CFD}" type="presParOf" srcId="{8E5973B7-A066-448A-AC8E-262878CCA629}" destId="{8ABD5680-8714-40E0-87E6-B241C45F9800}" srcOrd="1" destOrd="0" presId="urn:microsoft.com/office/officeart/2005/8/layout/orgChart1"/>
    <dgm:cxn modelId="{1BC4E832-D2EE-4569-817F-BD876B15B8C8}" type="presParOf" srcId="{7BF559C3-1091-4176-A469-0EA91D3DC9FF}" destId="{A8AB408D-1C19-4D69-AD79-BC9386087D57}" srcOrd="1" destOrd="0" presId="urn:microsoft.com/office/officeart/2005/8/layout/orgChart1"/>
    <dgm:cxn modelId="{AE473517-2BEF-4262-87EC-1BEA29FD7CDD}" type="presParOf" srcId="{7BF559C3-1091-4176-A469-0EA91D3DC9FF}" destId="{555B40D3-69A4-4D73-89B7-BA913D078CF8}" srcOrd="2" destOrd="0" presId="urn:microsoft.com/office/officeart/2005/8/layout/orgChart1"/>
    <dgm:cxn modelId="{DFE22E9C-A156-4B6E-8E2F-AE285D8863EE}" type="presParOf" srcId="{470A1AAD-E86B-4C0B-8BFC-5697F79B6CFE}" destId="{F0046BBF-9E1B-462D-9B36-80D688F8A8D2}" srcOrd="6" destOrd="0" presId="urn:microsoft.com/office/officeart/2005/8/layout/orgChart1"/>
    <dgm:cxn modelId="{93D906C1-507D-46D7-8FAB-3D6E051FD883}" type="presParOf" srcId="{470A1AAD-E86B-4C0B-8BFC-5697F79B6CFE}" destId="{D8BFD4D3-F4B0-4323-A7DD-2C1B15E0631A}" srcOrd="7" destOrd="0" presId="urn:microsoft.com/office/officeart/2005/8/layout/orgChart1"/>
    <dgm:cxn modelId="{B8EAF052-9ADB-482B-8199-46A60482430F}" type="presParOf" srcId="{D8BFD4D3-F4B0-4323-A7DD-2C1B15E0631A}" destId="{9F143FDF-4B8E-417F-A4DC-89804344EE23}" srcOrd="0" destOrd="0" presId="urn:microsoft.com/office/officeart/2005/8/layout/orgChart1"/>
    <dgm:cxn modelId="{D44E9317-D691-4003-ACA7-F074237217EC}" type="presParOf" srcId="{9F143FDF-4B8E-417F-A4DC-89804344EE23}" destId="{C2CBDC68-244A-469B-9172-49EA35CF49E3}" srcOrd="0" destOrd="0" presId="urn:microsoft.com/office/officeart/2005/8/layout/orgChart1"/>
    <dgm:cxn modelId="{0946E4D0-E2C6-43A3-9D26-F62935021F47}" type="presParOf" srcId="{9F143FDF-4B8E-417F-A4DC-89804344EE23}" destId="{0A0FF115-E4E8-4C44-851D-26ABD045522F}" srcOrd="1" destOrd="0" presId="urn:microsoft.com/office/officeart/2005/8/layout/orgChart1"/>
    <dgm:cxn modelId="{E77E11F4-1280-448A-88A0-05ACAEE867D6}" type="presParOf" srcId="{D8BFD4D3-F4B0-4323-A7DD-2C1B15E0631A}" destId="{226D399E-3C0E-4469-9D38-5D20B7B1F68D}" srcOrd="1" destOrd="0" presId="urn:microsoft.com/office/officeart/2005/8/layout/orgChart1"/>
    <dgm:cxn modelId="{518EA10A-C9A6-4E3C-BBEA-5200F24B102D}" type="presParOf" srcId="{D8BFD4D3-F4B0-4323-A7DD-2C1B15E0631A}" destId="{7B1DC5DE-F479-4EFC-B2F3-570CF390BDA4}" srcOrd="2" destOrd="0" presId="urn:microsoft.com/office/officeart/2005/8/layout/orgChart1"/>
    <dgm:cxn modelId="{6D605B86-832F-43AE-AF90-E34ED5F5FB3F}" type="presParOf" srcId="{470A1AAD-E86B-4C0B-8BFC-5697F79B6CFE}" destId="{15391F0E-EEA9-4D4B-B406-7091E9058C41}" srcOrd="8" destOrd="0" presId="urn:microsoft.com/office/officeart/2005/8/layout/orgChart1"/>
    <dgm:cxn modelId="{CE429192-54D2-45EA-B5CD-0AA4EB404A19}" type="presParOf" srcId="{470A1AAD-E86B-4C0B-8BFC-5697F79B6CFE}" destId="{AB495404-3949-4A8E-9080-B96DBBAC2F5C}" srcOrd="9" destOrd="0" presId="urn:microsoft.com/office/officeart/2005/8/layout/orgChart1"/>
    <dgm:cxn modelId="{70E5FA79-2E0B-4DD8-8373-3B2445A707D2}" type="presParOf" srcId="{AB495404-3949-4A8E-9080-B96DBBAC2F5C}" destId="{D5B438E7-7104-473C-91DC-825321147F03}" srcOrd="0" destOrd="0" presId="urn:microsoft.com/office/officeart/2005/8/layout/orgChart1"/>
    <dgm:cxn modelId="{27490A26-6422-437A-A898-95570BA0CD12}" type="presParOf" srcId="{D5B438E7-7104-473C-91DC-825321147F03}" destId="{C46CDA02-76D0-4269-AA5D-60DBD9C508E8}" srcOrd="0" destOrd="0" presId="urn:microsoft.com/office/officeart/2005/8/layout/orgChart1"/>
    <dgm:cxn modelId="{716AF93C-DDFF-438F-9F7C-D1F8BB92A73A}" type="presParOf" srcId="{D5B438E7-7104-473C-91DC-825321147F03}" destId="{DC76F0B2-8B05-4150-A094-E86ACBDD0B65}" srcOrd="1" destOrd="0" presId="urn:microsoft.com/office/officeart/2005/8/layout/orgChart1"/>
    <dgm:cxn modelId="{8B158246-78FF-49C5-8CB6-8BDE64CFB220}" type="presParOf" srcId="{AB495404-3949-4A8E-9080-B96DBBAC2F5C}" destId="{C23BB63D-5EEC-4ED3-A223-8FEBAAD9D388}" srcOrd="1" destOrd="0" presId="urn:microsoft.com/office/officeart/2005/8/layout/orgChart1"/>
    <dgm:cxn modelId="{20822F45-6EDA-46DB-867E-A291F03F51AC}" type="presParOf" srcId="{AB495404-3949-4A8E-9080-B96DBBAC2F5C}" destId="{8F66F564-D2F1-4419-B7D8-31C1117927F4}" srcOrd="2" destOrd="0" presId="urn:microsoft.com/office/officeart/2005/8/layout/orgChart1"/>
    <dgm:cxn modelId="{049FEADE-5CFE-4698-88EF-C381A7BD4638}" type="presParOf" srcId="{A9BB9323-E6F0-442E-80A4-C34E475E9028}" destId="{267E7187-7D79-4325-B04F-274047083124}" srcOrd="2" destOrd="0" presId="urn:microsoft.com/office/officeart/2005/8/layout/orgChar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0E366A0-FE0A-413E-8648-DBB3980CFD14}"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s-PE"/>
        </a:p>
      </dgm:t>
    </dgm:pt>
    <dgm:pt modelId="{F806AE0C-0C43-4476-BA54-48A4CBF60377}">
      <dgm:prSet phldrT="[Texto]" custT="1"/>
      <dgm:spPr>
        <a:solidFill>
          <a:srgbClr val="009999"/>
        </a:solidFill>
      </dgm:spPr>
      <dgm:t>
        <a:bodyPr/>
        <a:lstStyle/>
        <a:p>
          <a:r>
            <a:rPr lang="es-PE" sz="1500" dirty="0"/>
            <a:t>Implementación</a:t>
          </a:r>
        </a:p>
      </dgm:t>
    </dgm:pt>
    <dgm:pt modelId="{87C1167E-3A11-4B89-A3F2-53D1565BE4C4}" type="parTrans" cxnId="{2EF86A1D-D2FB-469B-87D6-E38D7D0B3CFE}">
      <dgm:prSet/>
      <dgm:spPr/>
      <dgm:t>
        <a:bodyPr/>
        <a:lstStyle/>
        <a:p>
          <a:endParaRPr lang="es-PE" sz="1500"/>
        </a:p>
      </dgm:t>
    </dgm:pt>
    <dgm:pt modelId="{B93E7AA3-C234-46F3-BD9F-2ECF395B19F4}" type="sibTrans" cxnId="{2EF86A1D-D2FB-469B-87D6-E38D7D0B3CFE}">
      <dgm:prSet/>
      <dgm:spPr/>
      <dgm:t>
        <a:bodyPr/>
        <a:lstStyle/>
        <a:p>
          <a:endParaRPr lang="es-PE" sz="1500"/>
        </a:p>
      </dgm:t>
    </dgm:pt>
    <dgm:pt modelId="{B2E259F4-DB8A-44F2-A660-33BDF38458FA}">
      <dgm:prSet phldrT="[Texto]" custT="1"/>
      <dgm:spPr>
        <a:solidFill>
          <a:srgbClr val="009999"/>
        </a:solidFill>
      </dgm:spPr>
      <dgm:t>
        <a:bodyPr/>
        <a:lstStyle/>
        <a:p>
          <a:r>
            <a:rPr lang="es-PE" sz="1500" dirty="0"/>
            <a:t>Plantilla Ms. Purview</a:t>
          </a:r>
        </a:p>
      </dgm:t>
    </dgm:pt>
    <dgm:pt modelId="{7ADDFF7C-D9E6-4265-83BA-577EA2C2642F}" type="parTrans" cxnId="{0944673C-97BA-46ED-82BD-AD2F93E94DE3}">
      <dgm:prSet/>
      <dgm:spPr/>
      <dgm:t>
        <a:bodyPr/>
        <a:lstStyle/>
        <a:p>
          <a:endParaRPr lang="es-PE" sz="1500"/>
        </a:p>
      </dgm:t>
    </dgm:pt>
    <dgm:pt modelId="{6931E490-63C0-4D34-A265-895185C40718}" type="sibTrans" cxnId="{0944673C-97BA-46ED-82BD-AD2F93E94DE3}">
      <dgm:prSet/>
      <dgm:spPr/>
      <dgm:t>
        <a:bodyPr/>
        <a:lstStyle/>
        <a:p>
          <a:endParaRPr lang="es-PE" sz="1500"/>
        </a:p>
      </dgm:t>
    </dgm:pt>
    <dgm:pt modelId="{D6148229-FDAA-4BEE-995E-31E03334C7BC}">
      <dgm:prSet phldrT="[Texto]" custT="1"/>
      <dgm:spPr>
        <a:solidFill>
          <a:srgbClr val="009999"/>
        </a:solidFill>
      </dgm:spPr>
      <dgm:t>
        <a:bodyPr/>
        <a:lstStyle/>
        <a:p>
          <a:r>
            <a:rPr lang="es-PE" sz="1500" dirty="0"/>
            <a:t>Registro y validación de metadatos</a:t>
          </a:r>
        </a:p>
      </dgm:t>
    </dgm:pt>
    <dgm:pt modelId="{803BAB89-17BF-4F52-A6C0-05A13531CEFB}" type="parTrans" cxnId="{B1DFCAC9-49AD-4E6B-9FFE-599A664DC6E2}">
      <dgm:prSet/>
      <dgm:spPr/>
      <dgm:t>
        <a:bodyPr/>
        <a:lstStyle/>
        <a:p>
          <a:endParaRPr lang="es-PE" sz="1500"/>
        </a:p>
      </dgm:t>
    </dgm:pt>
    <dgm:pt modelId="{D9D5EADA-1B8D-4734-AA16-068C8EA5055C}" type="sibTrans" cxnId="{B1DFCAC9-49AD-4E6B-9FFE-599A664DC6E2}">
      <dgm:prSet/>
      <dgm:spPr/>
      <dgm:t>
        <a:bodyPr/>
        <a:lstStyle/>
        <a:p>
          <a:endParaRPr lang="es-PE" sz="1500"/>
        </a:p>
      </dgm:t>
    </dgm:pt>
    <dgm:pt modelId="{70B9A318-E315-41A4-A40F-ED6AC57A67A8}">
      <dgm:prSet phldrT="[Texto]" custT="1"/>
      <dgm:spPr>
        <a:solidFill>
          <a:srgbClr val="009999"/>
        </a:solidFill>
      </dgm:spPr>
      <dgm:t>
        <a:bodyPr/>
        <a:lstStyle/>
        <a:p>
          <a:r>
            <a:rPr lang="es-PE" sz="1500" dirty="0"/>
            <a:t>Capacitación y transferencias</a:t>
          </a:r>
        </a:p>
      </dgm:t>
    </dgm:pt>
    <dgm:pt modelId="{C11F4FF4-2593-46B8-87C4-8EAC9535B37E}" type="parTrans" cxnId="{98FD4041-C18C-48F1-AFF8-7B8EBB7C7FC1}">
      <dgm:prSet/>
      <dgm:spPr/>
      <dgm:t>
        <a:bodyPr/>
        <a:lstStyle/>
        <a:p>
          <a:endParaRPr lang="es-PE" sz="1500"/>
        </a:p>
      </dgm:t>
    </dgm:pt>
    <dgm:pt modelId="{360AD157-3825-4F1F-9DB2-774AC384818D}" type="sibTrans" cxnId="{98FD4041-C18C-48F1-AFF8-7B8EBB7C7FC1}">
      <dgm:prSet/>
      <dgm:spPr/>
      <dgm:t>
        <a:bodyPr/>
        <a:lstStyle/>
        <a:p>
          <a:endParaRPr lang="es-PE" sz="1500"/>
        </a:p>
      </dgm:t>
    </dgm:pt>
    <dgm:pt modelId="{B732A281-5EFE-4609-A5B7-CA9807283835}" type="pres">
      <dgm:prSet presAssocID="{A0E366A0-FE0A-413E-8648-DBB3980CFD14}" presName="hierChild1" presStyleCnt="0">
        <dgm:presLayoutVars>
          <dgm:orgChart val="1"/>
          <dgm:chPref val="1"/>
          <dgm:dir/>
          <dgm:animOne val="branch"/>
          <dgm:animLvl val="lvl"/>
          <dgm:resizeHandles/>
        </dgm:presLayoutVars>
      </dgm:prSet>
      <dgm:spPr/>
    </dgm:pt>
    <dgm:pt modelId="{A9BB9323-E6F0-442E-80A4-C34E475E9028}" type="pres">
      <dgm:prSet presAssocID="{F806AE0C-0C43-4476-BA54-48A4CBF60377}" presName="hierRoot1" presStyleCnt="0">
        <dgm:presLayoutVars>
          <dgm:hierBranch val="init"/>
        </dgm:presLayoutVars>
      </dgm:prSet>
      <dgm:spPr/>
    </dgm:pt>
    <dgm:pt modelId="{45FABAFD-2D2A-4FB4-99E0-48395B8C8554}" type="pres">
      <dgm:prSet presAssocID="{F806AE0C-0C43-4476-BA54-48A4CBF60377}" presName="rootComposite1" presStyleCnt="0"/>
      <dgm:spPr/>
    </dgm:pt>
    <dgm:pt modelId="{973ED5B3-12DA-4A3F-8BD7-BB0ED78F8DDD}" type="pres">
      <dgm:prSet presAssocID="{F806AE0C-0C43-4476-BA54-48A4CBF60377}" presName="rootText1" presStyleLbl="node0" presStyleIdx="0" presStyleCnt="1">
        <dgm:presLayoutVars>
          <dgm:chPref val="3"/>
        </dgm:presLayoutVars>
      </dgm:prSet>
      <dgm:spPr/>
    </dgm:pt>
    <dgm:pt modelId="{A71EDE1A-A684-47AA-8494-1EA13466415C}" type="pres">
      <dgm:prSet presAssocID="{F806AE0C-0C43-4476-BA54-48A4CBF60377}" presName="rootConnector1" presStyleLbl="node1" presStyleIdx="0" presStyleCnt="0"/>
      <dgm:spPr/>
    </dgm:pt>
    <dgm:pt modelId="{470A1AAD-E86B-4C0B-8BFC-5697F79B6CFE}" type="pres">
      <dgm:prSet presAssocID="{F806AE0C-0C43-4476-BA54-48A4CBF60377}" presName="hierChild2" presStyleCnt="0"/>
      <dgm:spPr/>
    </dgm:pt>
    <dgm:pt modelId="{5B2ED020-D078-4EF1-9B69-3319175DB247}" type="pres">
      <dgm:prSet presAssocID="{7ADDFF7C-D9E6-4265-83BA-577EA2C2642F}" presName="Name37" presStyleLbl="parChTrans1D2" presStyleIdx="0" presStyleCnt="3"/>
      <dgm:spPr/>
    </dgm:pt>
    <dgm:pt modelId="{2149361A-325B-493D-8F48-B9DFFB25B942}" type="pres">
      <dgm:prSet presAssocID="{B2E259F4-DB8A-44F2-A660-33BDF38458FA}" presName="hierRoot2" presStyleCnt="0">
        <dgm:presLayoutVars>
          <dgm:hierBranch val="init"/>
        </dgm:presLayoutVars>
      </dgm:prSet>
      <dgm:spPr/>
    </dgm:pt>
    <dgm:pt modelId="{EB2E1491-609A-4642-9A68-0EC4E1B33000}" type="pres">
      <dgm:prSet presAssocID="{B2E259F4-DB8A-44F2-A660-33BDF38458FA}" presName="rootComposite" presStyleCnt="0"/>
      <dgm:spPr/>
    </dgm:pt>
    <dgm:pt modelId="{F893B5C8-4BE4-497A-AE33-5930B73E1927}" type="pres">
      <dgm:prSet presAssocID="{B2E259F4-DB8A-44F2-A660-33BDF38458FA}" presName="rootText" presStyleLbl="node2" presStyleIdx="0" presStyleCnt="3">
        <dgm:presLayoutVars>
          <dgm:chPref val="3"/>
        </dgm:presLayoutVars>
      </dgm:prSet>
      <dgm:spPr/>
    </dgm:pt>
    <dgm:pt modelId="{E6704D7D-7BD4-4C26-8B0C-BD188B2010F8}" type="pres">
      <dgm:prSet presAssocID="{B2E259F4-DB8A-44F2-A660-33BDF38458FA}" presName="rootConnector" presStyleLbl="node2" presStyleIdx="0" presStyleCnt="3"/>
      <dgm:spPr/>
    </dgm:pt>
    <dgm:pt modelId="{513D5AB9-0808-4029-AAF2-D13D44C34D66}" type="pres">
      <dgm:prSet presAssocID="{B2E259F4-DB8A-44F2-A660-33BDF38458FA}" presName="hierChild4" presStyleCnt="0"/>
      <dgm:spPr/>
    </dgm:pt>
    <dgm:pt modelId="{51E925C0-1B0F-483B-AF3A-09CDE1003EE9}" type="pres">
      <dgm:prSet presAssocID="{B2E259F4-DB8A-44F2-A660-33BDF38458FA}" presName="hierChild5" presStyleCnt="0"/>
      <dgm:spPr/>
    </dgm:pt>
    <dgm:pt modelId="{3C39C893-3764-4BE7-B513-35EB4E12B19B}" type="pres">
      <dgm:prSet presAssocID="{803BAB89-17BF-4F52-A6C0-05A13531CEFB}" presName="Name37" presStyleLbl="parChTrans1D2" presStyleIdx="1" presStyleCnt="3"/>
      <dgm:spPr/>
    </dgm:pt>
    <dgm:pt modelId="{953CCDAF-18D1-41C6-B551-EA139D066B12}" type="pres">
      <dgm:prSet presAssocID="{D6148229-FDAA-4BEE-995E-31E03334C7BC}" presName="hierRoot2" presStyleCnt="0">
        <dgm:presLayoutVars>
          <dgm:hierBranch val="init"/>
        </dgm:presLayoutVars>
      </dgm:prSet>
      <dgm:spPr/>
    </dgm:pt>
    <dgm:pt modelId="{E1BFDE84-267D-4AF0-BCAC-1AFC2E567B98}" type="pres">
      <dgm:prSet presAssocID="{D6148229-FDAA-4BEE-995E-31E03334C7BC}" presName="rootComposite" presStyleCnt="0"/>
      <dgm:spPr/>
    </dgm:pt>
    <dgm:pt modelId="{825E9CD5-F56F-442E-8B63-11F35F22FD86}" type="pres">
      <dgm:prSet presAssocID="{D6148229-FDAA-4BEE-995E-31E03334C7BC}" presName="rootText" presStyleLbl="node2" presStyleIdx="1" presStyleCnt="3">
        <dgm:presLayoutVars>
          <dgm:chPref val="3"/>
        </dgm:presLayoutVars>
      </dgm:prSet>
      <dgm:spPr/>
    </dgm:pt>
    <dgm:pt modelId="{43FD1EC4-F965-4066-9DBA-AB18D57EED79}" type="pres">
      <dgm:prSet presAssocID="{D6148229-FDAA-4BEE-995E-31E03334C7BC}" presName="rootConnector" presStyleLbl="node2" presStyleIdx="1" presStyleCnt="3"/>
      <dgm:spPr/>
    </dgm:pt>
    <dgm:pt modelId="{13273979-4453-4ADB-A6D1-D1D8226F8319}" type="pres">
      <dgm:prSet presAssocID="{D6148229-FDAA-4BEE-995E-31E03334C7BC}" presName="hierChild4" presStyleCnt="0"/>
      <dgm:spPr/>
    </dgm:pt>
    <dgm:pt modelId="{62E3FC89-E46B-4433-9852-45173DE17110}" type="pres">
      <dgm:prSet presAssocID="{D6148229-FDAA-4BEE-995E-31E03334C7BC}" presName="hierChild5" presStyleCnt="0"/>
      <dgm:spPr/>
    </dgm:pt>
    <dgm:pt modelId="{F89510ED-47D8-44F8-BF44-E07AB8A6A657}" type="pres">
      <dgm:prSet presAssocID="{C11F4FF4-2593-46B8-87C4-8EAC9535B37E}" presName="Name37" presStyleLbl="parChTrans1D2" presStyleIdx="2" presStyleCnt="3"/>
      <dgm:spPr/>
    </dgm:pt>
    <dgm:pt modelId="{992ADDF6-320C-415F-88EB-3D342AA99BA5}" type="pres">
      <dgm:prSet presAssocID="{70B9A318-E315-41A4-A40F-ED6AC57A67A8}" presName="hierRoot2" presStyleCnt="0">
        <dgm:presLayoutVars>
          <dgm:hierBranch val="init"/>
        </dgm:presLayoutVars>
      </dgm:prSet>
      <dgm:spPr/>
    </dgm:pt>
    <dgm:pt modelId="{7A179246-C011-4B79-B12A-03102D52F998}" type="pres">
      <dgm:prSet presAssocID="{70B9A318-E315-41A4-A40F-ED6AC57A67A8}" presName="rootComposite" presStyleCnt="0"/>
      <dgm:spPr/>
    </dgm:pt>
    <dgm:pt modelId="{489A85BF-E2AB-41C6-B535-3C618D950DBD}" type="pres">
      <dgm:prSet presAssocID="{70B9A318-E315-41A4-A40F-ED6AC57A67A8}" presName="rootText" presStyleLbl="node2" presStyleIdx="2" presStyleCnt="3">
        <dgm:presLayoutVars>
          <dgm:chPref val="3"/>
        </dgm:presLayoutVars>
      </dgm:prSet>
      <dgm:spPr/>
    </dgm:pt>
    <dgm:pt modelId="{96BD7114-A346-4BBE-AB93-4AAB8705A7A9}" type="pres">
      <dgm:prSet presAssocID="{70B9A318-E315-41A4-A40F-ED6AC57A67A8}" presName="rootConnector" presStyleLbl="node2" presStyleIdx="2" presStyleCnt="3"/>
      <dgm:spPr/>
    </dgm:pt>
    <dgm:pt modelId="{0710C7A5-409C-46BA-9982-250EE9229117}" type="pres">
      <dgm:prSet presAssocID="{70B9A318-E315-41A4-A40F-ED6AC57A67A8}" presName="hierChild4" presStyleCnt="0"/>
      <dgm:spPr/>
    </dgm:pt>
    <dgm:pt modelId="{159F6E1B-A198-45C2-9739-3C096FBEBF2F}" type="pres">
      <dgm:prSet presAssocID="{70B9A318-E315-41A4-A40F-ED6AC57A67A8}" presName="hierChild5" presStyleCnt="0"/>
      <dgm:spPr/>
    </dgm:pt>
    <dgm:pt modelId="{267E7187-7D79-4325-B04F-274047083124}" type="pres">
      <dgm:prSet presAssocID="{F806AE0C-0C43-4476-BA54-48A4CBF60377}" presName="hierChild3" presStyleCnt="0"/>
      <dgm:spPr/>
    </dgm:pt>
  </dgm:ptLst>
  <dgm:cxnLst>
    <dgm:cxn modelId="{D9804214-3190-46A6-8ADD-47FEDBA665BF}" type="presOf" srcId="{B2E259F4-DB8A-44F2-A660-33BDF38458FA}" destId="{E6704D7D-7BD4-4C26-8B0C-BD188B2010F8}" srcOrd="1" destOrd="0" presId="urn:microsoft.com/office/officeart/2005/8/layout/orgChart1"/>
    <dgm:cxn modelId="{2EF86A1D-D2FB-469B-87D6-E38D7D0B3CFE}" srcId="{A0E366A0-FE0A-413E-8648-DBB3980CFD14}" destId="{F806AE0C-0C43-4476-BA54-48A4CBF60377}" srcOrd="0" destOrd="0" parTransId="{87C1167E-3A11-4B89-A3F2-53D1565BE4C4}" sibTransId="{B93E7AA3-C234-46F3-BD9F-2ECF395B19F4}"/>
    <dgm:cxn modelId="{9046331E-7409-4A5A-AD29-21841263925D}" type="presOf" srcId="{D6148229-FDAA-4BEE-995E-31E03334C7BC}" destId="{825E9CD5-F56F-442E-8B63-11F35F22FD86}" srcOrd="0" destOrd="0" presId="urn:microsoft.com/office/officeart/2005/8/layout/orgChart1"/>
    <dgm:cxn modelId="{EEF49435-9F11-4BA6-A9B5-B52858557232}" type="presOf" srcId="{C11F4FF4-2593-46B8-87C4-8EAC9535B37E}" destId="{F89510ED-47D8-44F8-BF44-E07AB8A6A657}" srcOrd="0" destOrd="0" presId="urn:microsoft.com/office/officeart/2005/8/layout/orgChart1"/>
    <dgm:cxn modelId="{0944673C-97BA-46ED-82BD-AD2F93E94DE3}" srcId="{F806AE0C-0C43-4476-BA54-48A4CBF60377}" destId="{B2E259F4-DB8A-44F2-A660-33BDF38458FA}" srcOrd="0" destOrd="0" parTransId="{7ADDFF7C-D9E6-4265-83BA-577EA2C2642F}" sibTransId="{6931E490-63C0-4D34-A265-895185C40718}"/>
    <dgm:cxn modelId="{98FD4041-C18C-48F1-AFF8-7B8EBB7C7FC1}" srcId="{F806AE0C-0C43-4476-BA54-48A4CBF60377}" destId="{70B9A318-E315-41A4-A40F-ED6AC57A67A8}" srcOrd="2" destOrd="0" parTransId="{C11F4FF4-2593-46B8-87C4-8EAC9535B37E}" sibTransId="{360AD157-3825-4F1F-9DB2-774AC384818D}"/>
    <dgm:cxn modelId="{C1F5E369-05DF-40DF-9E5F-938C94014FF8}" type="presOf" srcId="{D6148229-FDAA-4BEE-995E-31E03334C7BC}" destId="{43FD1EC4-F965-4066-9DBA-AB18D57EED79}" srcOrd="1" destOrd="0" presId="urn:microsoft.com/office/officeart/2005/8/layout/orgChart1"/>
    <dgm:cxn modelId="{1FD7AF6A-9243-4D19-8D80-90694D747B9C}" type="presOf" srcId="{803BAB89-17BF-4F52-A6C0-05A13531CEFB}" destId="{3C39C893-3764-4BE7-B513-35EB4E12B19B}" srcOrd="0" destOrd="0" presId="urn:microsoft.com/office/officeart/2005/8/layout/orgChart1"/>
    <dgm:cxn modelId="{22FFF658-D95A-4407-A2EC-694DB76D5AD6}" type="presOf" srcId="{70B9A318-E315-41A4-A40F-ED6AC57A67A8}" destId="{96BD7114-A346-4BBE-AB93-4AAB8705A7A9}" srcOrd="1" destOrd="0" presId="urn:microsoft.com/office/officeart/2005/8/layout/orgChart1"/>
    <dgm:cxn modelId="{11EE2181-3529-4B63-A827-19EE46A6B959}" type="presOf" srcId="{7ADDFF7C-D9E6-4265-83BA-577EA2C2642F}" destId="{5B2ED020-D078-4EF1-9B69-3319175DB247}" srcOrd="0" destOrd="0" presId="urn:microsoft.com/office/officeart/2005/8/layout/orgChart1"/>
    <dgm:cxn modelId="{7C845398-F229-4364-8D49-A70B51786818}" type="presOf" srcId="{A0E366A0-FE0A-413E-8648-DBB3980CFD14}" destId="{B732A281-5EFE-4609-A5B7-CA9807283835}" srcOrd="0" destOrd="0" presId="urn:microsoft.com/office/officeart/2005/8/layout/orgChart1"/>
    <dgm:cxn modelId="{B127E8B7-EECC-473F-950C-46B35B5D05E4}" type="presOf" srcId="{B2E259F4-DB8A-44F2-A660-33BDF38458FA}" destId="{F893B5C8-4BE4-497A-AE33-5930B73E1927}" srcOrd="0" destOrd="0" presId="urn:microsoft.com/office/officeart/2005/8/layout/orgChart1"/>
    <dgm:cxn modelId="{B1DFCAC9-49AD-4E6B-9FFE-599A664DC6E2}" srcId="{F806AE0C-0C43-4476-BA54-48A4CBF60377}" destId="{D6148229-FDAA-4BEE-995E-31E03334C7BC}" srcOrd="1" destOrd="0" parTransId="{803BAB89-17BF-4F52-A6C0-05A13531CEFB}" sibTransId="{D9D5EADA-1B8D-4734-AA16-068C8EA5055C}"/>
    <dgm:cxn modelId="{B450E2EE-E4B1-4C48-A14D-42F13C01171F}" type="presOf" srcId="{F806AE0C-0C43-4476-BA54-48A4CBF60377}" destId="{973ED5B3-12DA-4A3F-8BD7-BB0ED78F8DDD}" srcOrd="0" destOrd="0" presId="urn:microsoft.com/office/officeart/2005/8/layout/orgChart1"/>
    <dgm:cxn modelId="{D0F3E7FA-9327-44B5-ABF0-38094C1CB55D}" type="presOf" srcId="{F806AE0C-0C43-4476-BA54-48A4CBF60377}" destId="{A71EDE1A-A684-47AA-8494-1EA13466415C}" srcOrd="1" destOrd="0" presId="urn:microsoft.com/office/officeart/2005/8/layout/orgChart1"/>
    <dgm:cxn modelId="{7F4A0FFF-CBC3-44A9-94E4-A520EACDBE01}" type="presOf" srcId="{70B9A318-E315-41A4-A40F-ED6AC57A67A8}" destId="{489A85BF-E2AB-41C6-B535-3C618D950DBD}" srcOrd="0" destOrd="0" presId="urn:microsoft.com/office/officeart/2005/8/layout/orgChart1"/>
    <dgm:cxn modelId="{4A61B5D5-0F18-41EE-901A-1DF14FAF1F73}" type="presParOf" srcId="{B732A281-5EFE-4609-A5B7-CA9807283835}" destId="{A9BB9323-E6F0-442E-80A4-C34E475E9028}" srcOrd="0" destOrd="0" presId="urn:microsoft.com/office/officeart/2005/8/layout/orgChart1"/>
    <dgm:cxn modelId="{6FF651FC-EB8F-4885-B11F-66E08E9A31A0}" type="presParOf" srcId="{A9BB9323-E6F0-442E-80A4-C34E475E9028}" destId="{45FABAFD-2D2A-4FB4-99E0-48395B8C8554}" srcOrd="0" destOrd="0" presId="urn:microsoft.com/office/officeart/2005/8/layout/orgChart1"/>
    <dgm:cxn modelId="{2B337E91-ACCE-42B9-BB71-2D2B2B1F0866}" type="presParOf" srcId="{45FABAFD-2D2A-4FB4-99E0-48395B8C8554}" destId="{973ED5B3-12DA-4A3F-8BD7-BB0ED78F8DDD}" srcOrd="0" destOrd="0" presId="urn:microsoft.com/office/officeart/2005/8/layout/orgChart1"/>
    <dgm:cxn modelId="{2D7A1027-B793-44D7-B832-CB2D4F045771}" type="presParOf" srcId="{45FABAFD-2D2A-4FB4-99E0-48395B8C8554}" destId="{A71EDE1A-A684-47AA-8494-1EA13466415C}" srcOrd="1" destOrd="0" presId="urn:microsoft.com/office/officeart/2005/8/layout/orgChart1"/>
    <dgm:cxn modelId="{C11EB15D-D24A-4D14-81D1-1B4F5D0B99C0}" type="presParOf" srcId="{A9BB9323-E6F0-442E-80A4-C34E475E9028}" destId="{470A1AAD-E86B-4C0B-8BFC-5697F79B6CFE}" srcOrd="1" destOrd="0" presId="urn:microsoft.com/office/officeart/2005/8/layout/orgChart1"/>
    <dgm:cxn modelId="{DC0ED25A-0522-4EEE-BBCE-F2BD2FD51B38}" type="presParOf" srcId="{470A1AAD-E86B-4C0B-8BFC-5697F79B6CFE}" destId="{5B2ED020-D078-4EF1-9B69-3319175DB247}" srcOrd="0" destOrd="0" presId="urn:microsoft.com/office/officeart/2005/8/layout/orgChart1"/>
    <dgm:cxn modelId="{0FFB0970-071A-403D-93DB-30CB3118327D}" type="presParOf" srcId="{470A1AAD-E86B-4C0B-8BFC-5697F79B6CFE}" destId="{2149361A-325B-493D-8F48-B9DFFB25B942}" srcOrd="1" destOrd="0" presId="urn:microsoft.com/office/officeart/2005/8/layout/orgChart1"/>
    <dgm:cxn modelId="{C4958ECF-F06B-4AEF-A417-6DDF3163A752}" type="presParOf" srcId="{2149361A-325B-493D-8F48-B9DFFB25B942}" destId="{EB2E1491-609A-4642-9A68-0EC4E1B33000}" srcOrd="0" destOrd="0" presId="urn:microsoft.com/office/officeart/2005/8/layout/orgChart1"/>
    <dgm:cxn modelId="{1C643DFA-8B99-4F1A-8B2B-4C1152401A0B}" type="presParOf" srcId="{EB2E1491-609A-4642-9A68-0EC4E1B33000}" destId="{F893B5C8-4BE4-497A-AE33-5930B73E1927}" srcOrd="0" destOrd="0" presId="urn:microsoft.com/office/officeart/2005/8/layout/orgChart1"/>
    <dgm:cxn modelId="{2F393480-8AAD-4B7E-911A-10503574E375}" type="presParOf" srcId="{EB2E1491-609A-4642-9A68-0EC4E1B33000}" destId="{E6704D7D-7BD4-4C26-8B0C-BD188B2010F8}" srcOrd="1" destOrd="0" presId="urn:microsoft.com/office/officeart/2005/8/layout/orgChart1"/>
    <dgm:cxn modelId="{7F3516A5-E1DA-49C2-B4E2-9A86382662C7}" type="presParOf" srcId="{2149361A-325B-493D-8F48-B9DFFB25B942}" destId="{513D5AB9-0808-4029-AAF2-D13D44C34D66}" srcOrd="1" destOrd="0" presId="urn:microsoft.com/office/officeart/2005/8/layout/orgChart1"/>
    <dgm:cxn modelId="{850F0CF1-5ADD-4EA4-8F1D-DE7226120F61}" type="presParOf" srcId="{2149361A-325B-493D-8F48-B9DFFB25B942}" destId="{51E925C0-1B0F-483B-AF3A-09CDE1003EE9}" srcOrd="2" destOrd="0" presId="urn:microsoft.com/office/officeart/2005/8/layout/orgChart1"/>
    <dgm:cxn modelId="{1EF37661-D2FD-4047-8F8F-EAB2FBD86BF1}" type="presParOf" srcId="{470A1AAD-E86B-4C0B-8BFC-5697F79B6CFE}" destId="{3C39C893-3764-4BE7-B513-35EB4E12B19B}" srcOrd="2" destOrd="0" presId="urn:microsoft.com/office/officeart/2005/8/layout/orgChart1"/>
    <dgm:cxn modelId="{8D9ABA9D-45ED-496E-9ECD-D60A4F3C236C}" type="presParOf" srcId="{470A1AAD-E86B-4C0B-8BFC-5697F79B6CFE}" destId="{953CCDAF-18D1-41C6-B551-EA139D066B12}" srcOrd="3" destOrd="0" presId="urn:microsoft.com/office/officeart/2005/8/layout/orgChart1"/>
    <dgm:cxn modelId="{3543708B-8454-4C46-9907-5F3C7A492BAF}" type="presParOf" srcId="{953CCDAF-18D1-41C6-B551-EA139D066B12}" destId="{E1BFDE84-267D-4AF0-BCAC-1AFC2E567B98}" srcOrd="0" destOrd="0" presId="urn:microsoft.com/office/officeart/2005/8/layout/orgChart1"/>
    <dgm:cxn modelId="{6885B977-D5A9-4F5B-91F1-3F2C75390F98}" type="presParOf" srcId="{E1BFDE84-267D-4AF0-BCAC-1AFC2E567B98}" destId="{825E9CD5-F56F-442E-8B63-11F35F22FD86}" srcOrd="0" destOrd="0" presId="urn:microsoft.com/office/officeart/2005/8/layout/orgChart1"/>
    <dgm:cxn modelId="{C13D5DED-EC44-4DA8-A245-5C985AA73AA3}" type="presParOf" srcId="{E1BFDE84-267D-4AF0-BCAC-1AFC2E567B98}" destId="{43FD1EC4-F965-4066-9DBA-AB18D57EED79}" srcOrd="1" destOrd="0" presId="urn:microsoft.com/office/officeart/2005/8/layout/orgChart1"/>
    <dgm:cxn modelId="{C297FA86-B731-4DD7-B4E3-747EB41DA082}" type="presParOf" srcId="{953CCDAF-18D1-41C6-B551-EA139D066B12}" destId="{13273979-4453-4ADB-A6D1-D1D8226F8319}" srcOrd="1" destOrd="0" presId="urn:microsoft.com/office/officeart/2005/8/layout/orgChart1"/>
    <dgm:cxn modelId="{B5E20B15-B1BE-47AD-B470-949C5C9642C0}" type="presParOf" srcId="{953CCDAF-18D1-41C6-B551-EA139D066B12}" destId="{62E3FC89-E46B-4433-9852-45173DE17110}" srcOrd="2" destOrd="0" presId="urn:microsoft.com/office/officeart/2005/8/layout/orgChart1"/>
    <dgm:cxn modelId="{CE10F8FF-A5D8-4557-A65D-FFC5778C43A5}" type="presParOf" srcId="{470A1AAD-E86B-4C0B-8BFC-5697F79B6CFE}" destId="{F89510ED-47D8-44F8-BF44-E07AB8A6A657}" srcOrd="4" destOrd="0" presId="urn:microsoft.com/office/officeart/2005/8/layout/orgChart1"/>
    <dgm:cxn modelId="{15726C87-10F1-4C8E-A28F-75CBFCA6A308}" type="presParOf" srcId="{470A1AAD-E86B-4C0B-8BFC-5697F79B6CFE}" destId="{992ADDF6-320C-415F-88EB-3D342AA99BA5}" srcOrd="5" destOrd="0" presId="urn:microsoft.com/office/officeart/2005/8/layout/orgChart1"/>
    <dgm:cxn modelId="{4C49FD3F-30DC-4FC2-944C-D9147451E258}" type="presParOf" srcId="{992ADDF6-320C-415F-88EB-3D342AA99BA5}" destId="{7A179246-C011-4B79-B12A-03102D52F998}" srcOrd="0" destOrd="0" presId="urn:microsoft.com/office/officeart/2005/8/layout/orgChart1"/>
    <dgm:cxn modelId="{BE605707-64BA-4518-BFF2-FE3A8D4BC01F}" type="presParOf" srcId="{7A179246-C011-4B79-B12A-03102D52F998}" destId="{489A85BF-E2AB-41C6-B535-3C618D950DBD}" srcOrd="0" destOrd="0" presId="urn:microsoft.com/office/officeart/2005/8/layout/orgChart1"/>
    <dgm:cxn modelId="{DE54DD8D-EED8-45A6-AE4F-F60E6441D1F2}" type="presParOf" srcId="{7A179246-C011-4B79-B12A-03102D52F998}" destId="{96BD7114-A346-4BBE-AB93-4AAB8705A7A9}" srcOrd="1" destOrd="0" presId="urn:microsoft.com/office/officeart/2005/8/layout/orgChart1"/>
    <dgm:cxn modelId="{3D922FD0-BE62-4EDB-BB05-E605360B95C1}" type="presParOf" srcId="{992ADDF6-320C-415F-88EB-3D342AA99BA5}" destId="{0710C7A5-409C-46BA-9982-250EE9229117}" srcOrd="1" destOrd="0" presId="urn:microsoft.com/office/officeart/2005/8/layout/orgChart1"/>
    <dgm:cxn modelId="{AEE968DC-59BA-41EB-B5A6-1C09A0FEC303}" type="presParOf" srcId="{992ADDF6-320C-415F-88EB-3D342AA99BA5}" destId="{159F6E1B-A198-45C2-9739-3C096FBEBF2F}" srcOrd="2" destOrd="0" presId="urn:microsoft.com/office/officeart/2005/8/layout/orgChart1"/>
    <dgm:cxn modelId="{049FEADE-5CFE-4698-88EF-C381A7BD4638}" type="presParOf" srcId="{A9BB9323-E6F0-442E-80A4-C34E475E9028}" destId="{267E7187-7D79-4325-B04F-274047083124}" srcOrd="2" destOrd="0" presId="urn:microsoft.com/office/officeart/2005/8/layout/orgChart1"/>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956B8F-2D73-41EA-8CF6-74A2F5DD8F68}">
      <dsp:nvSpPr>
        <dsp:cNvPr id="0" name=""/>
        <dsp:cNvSpPr/>
      </dsp:nvSpPr>
      <dsp:spPr>
        <a:xfrm>
          <a:off x="1952155" y="324415"/>
          <a:ext cx="4364626" cy="4364626"/>
        </a:xfrm>
        <a:prstGeom prst="pie">
          <a:avLst>
            <a:gd name="adj1" fmla="val 16200000"/>
            <a:gd name="adj2" fmla="val 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s-MX" sz="2000" kern="1200" dirty="0"/>
            <a:t>Completitud</a:t>
          </a:r>
          <a:endParaRPr lang="es-PE" sz="2000" kern="1200" dirty="0"/>
        </a:p>
      </dsp:txBody>
      <dsp:txXfrm>
        <a:off x="4269044" y="1229036"/>
        <a:ext cx="1610755" cy="1195076"/>
      </dsp:txXfrm>
    </dsp:sp>
    <dsp:sp modelId="{6DF4E979-17E9-4A06-82DC-81DAFBCC49F1}">
      <dsp:nvSpPr>
        <dsp:cNvPr id="0" name=""/>
        <dsp:cNvSpPr/>
      </dsp:nvSpPr>
      <dsp:spPr>
        <a:xfrm>
          <a:off x="1952155" y="470942"/>
          <a:ext cx="4364626" cy="4364626"/>
        </a:xfrm>
        <a:prstGeom prst="pie">
          <a:avLst>
            <a:gd name="adj1" fmla="val 0"/>
            <a:gd name="adj2" fmla="val 54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s-MX" sz="2000" kern="1200" dirty="0"/>
            <a:t>Validez</a:t>
          </a:r>
          <a:endParaRPr lang="es-PE" sz="2000" kern="1200" dirty="0"/>
        </a:p>
      </dsp:txBody>
      <dsp:txXfrm>
        <a:off x="4269044" y="2735871"/>
        <a:ext cx="1610755" cy="1195076"/>
      </dsp:txXfrm>
    </dsp:sp>
    <dsp:sp modelId="{D8F6E7FD-9D3E-4939-910C-3FFF79E68BC7}">
      <dsp:nvSpPr>
        <dsp:cNvPr id="0" name=""/>
        <dsp:cNvSpPr/>
      </dsp:nvSpPr>
      <dsp:spPr>
        <a:xfrm>
          <a:off x="1805628" y="470942"/>
          <a:ext cx="4364626" cy="4364626"/>
        </a:xfrm>
        <a:prstGeom prst="pie">
          <a:avLst>
            <a:gd name="adj1" fmla="val 5400000"/>
            <a:gd name="adj2" fmla="val 108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s-MX" sz="2000" kern="1200" dirty="0"/>
            <a:t>Consistencia</a:t>
          </a:r>
          <a:endParaRPr lang="es-PE" sz="2000" kern="1200" dirty="0"/>
        </a:p>
      </dsp:txBody>
      <dsp:txXfrm>
        <a:off x="2242611" y="2735871"/>
        <a:ext cx="1610755" cy="1195076"/>
      </dsp:txXfrm>
    </dsp:sp>
    <dsp:sp modelId="{F41811DE-5969-462F-86D9-67DE99BAFBCB}">
      <dsp:nvSpPr>
        <dsp:cNvPr id="0" name=""/>
        <dsp:cNvSpPr/>
      </dsp:nvSpPr>
      <dsp:spPr>
        <a:xfrm>
          <a:off x="1805628" y="324415"/>
          <a:ext cx="4364626" cy="4364626"/>
        </a:xfrm>
        <a:prstGeom prst="pie">
          <a:avLst>
            <a:gd name="adj1" fmla="val 108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s-MX" sz="2000" kern="1200" dirty="0"/>
            <a:t>Exactitud</a:t>
          </a:r>
          <a:endParaRPr lang="es-PE" sz="2000" kern="1200" dirty="0"/>
        </a:p>
      </dsp:txBody>
      <dsp:txXfrm>
        <a:off x="2242611" y="1229036"/>
        <a:ext cx="1610755" cy="1195076"/>
      </dsp:txXfrm>
    </dsp:sp>
    <dsp:sp modelId="{CDC4FD1C-18E9-49EB-A0EA-BE699BC4D44A}">
      <dsp:nvSpPr>
        <dsp:cNvPr id="0" name=""/>
        <dsp:cNvSpPr/>
      </dsp:nvSpPr>
      <dsp:spPr>
        <a:xfrm>
          <a:off x="1681964" y="54224"/>
          <a:ext cx="4905008" cy="4905008"/>
        </a:xfrm>
        <a:prstGeom prst="circularArrow">
          <a:avLst>
            <a:gd name="adj1" fmla="val 5085"/>
            <a:gd name="adj2" fmla="val 327528"/>
            <a:gd name="adj3" fmla="val 21272472"/>
            <a:gd name="adj4" fmla="val 162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25E96C6-C2E2-4679-A72D-1DF3C0D01DEB}">
      <dsp:nvSpPr>
        <dsp:cNvPr id="0" name=""/>
        <dsp:cNvSpPr/>
      </dsp:nvSpPr>
      <dsp:spPr>
        <a:xfrm>
          <a:off x="1681964" y="200750"/>
          <a:ext cx="4905008" cy="4905008"/>
        </a:xfrm>
        <a:prstGeom prst="circularArrow">
          <a:avLst>
            <a:gd name="adj1" fmla="val 5085"/>
            <a:gd name="adj2" fmla="val 327528"/>
            <a:gd name="adj3" fmla="val 5072472"/>
            <a:gd name="adj4" fmla="val 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2359A74-4438-4920-9C4C-FF935356EE99}">
      <dsp:nvSpPr>
        <dsp:cNvPr id="0" name=""/>
        <dsp:cNvSpPr/>
      </dsp:nvSpPr>
      <dsp:spPr>
        <a:xfrm>
          <a:off x="1535437" y="200750"/>
          <a:ext cx="4905008" cy="4905008"/>
        </a:xfrm>
        <a:prstGeom prst="circularArrow">
          <a:avLst>
            <a:gd name="adj1" fmla="val 5085"/>
            <a:gd name="adj2" fmla="val 327528"/>
            <a:gd name="adj3" fmla="val 10472472"/>
            <a:gd name="adj4" fmla="val 54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D06C4C7-0C18-4684-89DD-F71C78571CE3}">
      <dsp:nvSpPr>
        <dsp:cNvPr id="0" name=""/>
        <dsp:cNvSpPr/>
      </dsp:nvSpPr>
      <dsp:spPr>
        <a:xfrm>
          <a:off x="1535437" y="54224"/>
          <a:ext cx="4905008" cy="4905008"/>
        </a:xfrm>
        <a:prstGeom prst="circularArrow">
          <a:avLst>
            <a:gd name="adj1" fmla="val 5085"/>
            <a:gd name="adj2" fmla="val 327528"/>
            <a:gd name="adj3" fmla="val 15872472"/>
            <a:gd name="adj4" fmla="val 108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741120-0049-41B2-92D6-2386613542AF}">
      <dsp:nvSpPr>
        <dsp:cNvPr id="0" name=""/>
        <dsp:cNvSpPr/>
      </dsp:nvSpPr>
      <dsp:spPr>
        <a:xfrm>
          <a:off x="0" y="602819"/>
          <a:ext cx="5377770" cy="957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BC3FD9C-E314-4323-9B7D-DDF7E6162B2C}">
      <dsp:nvSpPr>
        <dsp:cNvPr id="0" name=""/>
        <dsp:cNvSpPr/>
      </dsp:nvSpPr>
      <dsp:spPr>
        <a:xfrm>
          <a:off x="268888" y="41939"/>
          <a:ext cx="4980504" cy="1121760"/>
        </a:xfrm>
        <a:prstGeom prst="roundRect">
          <a:avLst/>
        </a:prstGeom>
        <a:solidFill>
          <a:srgbClr val="00999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87" tIns="0" rIns="142287" bIns="0" numCol="1" spcCol="1270" anchor="ctr" anchorCtr="0">
          <a:noAutofit/>
        </a:bodyPr>
        <a:lstStyle/>
        <a:p>
          <a:pPr marL="0" lvl="0" indent="0" algn="just" defTabSz="800100">
            <a:lnSpc>
              <a:spcPct val="90000"/>
            </a:lnSpc>
            <a:spcBef>
              <a:spcPct val="0"/>
            </a:spcBef>
            <a:spcAft>
              <a:spcPct val="35000"/>
            </a:spcAft>
            <a:buNone/>
          </a:pPr>
          <a:r>
            <a:rPr lang="es-MX" sz="1800" kern="1200" dirty="0"/>
            <a:t>Define los metadatos de cada dataset a ingerir.</a:t>
          </a:r>
          <a:endParaRPr lang="es-PE" sz="1800" kern="1200" dirty="0"/>
        </a:p>
      </dsp:txBody>
      <dsp:txXfrm>
        <a:off x="323648" y="96699"/>
        <a:ext cx="4870984" cy="1012240"/>
      </dsp:txXfrm>
    </dsp:sp>
    <dsp:sp modelId="{A7876987-67A3-44D3-9E45-705ACD582AA5}">
      <dsp:nvSpPr>
        <dsp:cNvPr id="0" name=""/>
        <dsp:cNvSpPr/>
      </dsp:nvSpPr>
      <dsp:spPr>
        <a:xfrm>
          <a:off x="0" y="2326500"/>
          <a:ext cx="5377770" cy="957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D4DA83C-056B-4BB1-9BF9-29537A694BF3}">
      <dsp:nvSpPr>
        <dsp:cNvPr id="0" name=""/>
        <dsp:cNvSpPr/>
      </dsp:nvSpPr>
      <dsp:spPr>
        <a:xfrm>
          <a:off x="268888" y="1765619"/>
          <a:ext cx="4980504" cy="1121760"/>
        </a:xfrm>
        <a:prstGeom prst="roundRect">
          <a:avLst/>
        </a:prstGeom>
        <a:solidFill>
          <a:srgbClr val="00999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87" tIns="0" rIns="142287" bIns="0" numCol="1" spcCol="1270" anchor="ctr" anchorCtr="0">
          <a:noAutofit/>
        </a:bodyPr>
        <a:lstStyle/>
        <a:p>
          <a:pPr marL="0" lvl="0" indent="0" algn="just" defTabSz="800100">
            <a:lnSpc>
              <a:spcPct val="90000"/>
            </a:lnSpc>
            <a:spcBef>
              <a:spcPct val="0"/>
            </a:spcBef>
            <a:spcAft>
              <a:spcPct val="35000"/>
            </a:spcAft>
            <a:buNone/>
          </a:pPr>
          <a:r>
            <a:rPr lang="es-PE" sz="1800" kern="1200" dirty="0"/>
            <a:t>Input para construir mapeos de ingesta y validaciones. </a:t>
          </a:r>
        </a:p>
      </dsp:txBody>
      <dsp:txXfrm>
        <a:off x="323648" y="1820379"/>
        <a:ext cx="4870984" cy="1012240"/>
      </dsp:txXfrm>
    </dsp:sp>
    <dsp:sp modelId="{DDA9D4A1-C5A1-44D2-B5D7-1654129DE836}">
      <dsp:nvSpPr>
        <dsp:cNvPr id="0" name=""/>
        <dsp:cNvSpPr/>
      </dsp:nvSpPr>
      <dsp:spPr>
        <a:xfrm>
          <a:off x="0" y="4050180"/>
          <a:ext cx="5377770" cy="957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56C630B-5A70-4AEE-9DAC-BC67ABBF66B0}">
      <dsp:nvSpPr>
        <dsp:cNvPr id="0" name=""/>
        <dsp:cNvSpPr/>
      </dsp:nvSpPr>
      <dsp:spPr>
        <a:xfrm>
          <a:off x="268888" y="3489300"/>
          <a:ext cx="4980504" cy="1121760"/>
        </a:xfrm>
        <a:prstGeom prst="roundRect">
          <a:avLst/>
        </a:prstGeom>
        <a:solidFill>
          <a:srgbClr val="00999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87" tIns="0" rIns="142287" bIns="0" numCol="1" spcCol="1270" anchor="ctr" anchorCtr="0">
          <a:noAutofit/>
        </a:bodyPr>
        <a:lstStyle/>
        <a:p>
          <a:pPr marL="0" lvl="0" indent="0" algn="just" defTabSz="800100">
            <a:lnSpc>
              <a:spcPct val="90000"/>
            </a:lnSpc>
            <a:spcBef>
              <a:spcPct val="0"/>
            </a:spcBef>
            <a:spcAft>
              <a:spcPct val="35000"/>
            </a:spcAft>
            <a:buNone/>
          </a:pPr>
          <a:r>
            <a:rPr lang="es-PE" sz="1800" kern="1200" dirty="0"/>
            <a:t>Debe estar validado por el PO y almacenado en el repositorio corporativo.</a:t>
          </a:r>
        </a:p>
      </dsp:txBody>
      <dsp:txXfrm>
        <a:off x="323648" y="3544060"/>
        <a:ext cx="4870984" cy="10122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741120-0049-41B2-92D6-2386613542AF}">
      <dsp:nvSpPr>
        <dsp:cNvPr id="0" name=""/>
        <dsp:cNvSpPr/>
      </dsp:nvSpPr>
      <dsp:spPr>
        <a:xfrm>
          <a:off x="0" y="670788"/>
          <a:ext cx="5377770" cy="1108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BC3FD9C-E314-4323-9B7D-DDF7E6162B2C}">
      <dsp:nvSpPr>
        <dsp:cNvPr id="0" name=""/>
        <dsp:cNvSpPr/>
      </dsp:nvSpPr>
      <dsp:spPr>
        <a:xfrm>
          <a:off x="268888" y="21347"/>
          <a:ext cx="4980504" cy="1298880"/>
        </a:xfrm>
        <a:prstGeom prst="roundRect">
          <a:avLst/>
        </a:prstGeom>
        <a:solidFill>
          <a:srgbClr val="FF532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87" tIns="0" rIns="142287" bIns="0" numCol="1" spcCol="1270" anchor="ctr" anchorCtr="0">
          <a:noAutofit/>
        </a:bodyPr>
        <a:lstStyle/>
        <a:p>
          <a:pPr marL="0" lvl="0" indent="0" algn="just" defTabSz="800100">
            <a:lnSpc>
              <a:spcPct val="90000"/>
            </a:lnSpc>
            <a:spcBef>
              <a:spcPct val="0"/>
            </a:spcBef>
            <a:spcAft>
              <a:spcPct val="35000"/>
            </a:spcAft>
            <a:buNone/>
          </a:pPr>
          <a:r>
            <a:rPr lang="es-PE" sz="1800" kern="1200" dirty="0"/>
            <a:t>Cada proyecto debe definir y documentar las reglas de calidad.</a:t>
          </a:r>
        </a:p>
      </dsp:txBody>
      <dsp:txXfrm>
        <a:off x="332294" y="84753"/>
        <a:ext cx="4853692" cy="1172068"/>
      </dsp:txXfrm>
    </dsp:sp>
    <dsp:sp modelId="{DDA9D4A1-C5A1-44D2-B5D7-1654129DE836}">
      <dsp:nvSpPr>
        <dsp:cNvPr id="0" name=""/>
        <dsp:cNvSpPr/>
      </dsp:nvSpPr>
      <dsp:spPr>
        <a:xfrm>
          <a:off x="0" y="2666628"/>
          <a:ext cx="5377770" cy="1108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56C630B-5A70-4AEE-9DAC-BC67ABBF66B0}">
      <dsp:nvSpPr>
        <dsp:cNvPr id="0" name=""/>
        <dsp:cNvSpPr/>
      </dsp:nvSpPr>
      <dsp:spPr>
        <a:xfrm>
          <a:off x="268888" y="2017188"/>
          <a:ext cx="4980504" cy="1298880"/>
        </a:xfrm>
        <a:prstGeom prst="roundRect">
          <a:avLst/>
        </a:prstGeom>
        <a:solidFill>
          <a:srgbClr val="FF532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87" tIns="0" rIns="142287" bIns="0" numCol="1" spcCol="1270" anchor="ctr" anchorCtr="0">
          <a:noAutofit/>
        </a:bodyPr>
        <a:lstStyle/>
        <a:p>
          <a:pPr marL="0" lvl="0" indent="0" algn="just" defTabSz="800100">
            <a:lnSpc>
              <a:spcPct val="90000"/>
            </a:lnSpc>
            <a:spcBef>
              <a:spcPct val="0"/>
            </a:spcBef>
            <a:spcAft>
              <a:spcPct val="35000"/>
            </a:spcAft>
            <a:buNone/>
          </a:pPr>
          <a:r>
            <a:rPr lang="es-PE" sz="1800" kern="1200" dirty="0"/>
            <a:t>Todas las reglas deben almacenarse en una tabla estructurada y versionada.</a:t>
          </a:r>
        </a:p>
      </dsp:txBody>
      <dsp:txXfrm>
        <a:off x="332294" y="2080594"/>
        <a:ext cx="4853692" cy="117206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741120-0049-41B2-92D6-2386613542AF}">
      <dsp:nvSpPr>
        <dsp:cNvPr id="0" name=""/>
        <dsp:cNvSpPr/>
      </dsp:nvSpPr>
      <dsp:spPr>
        <a:xfrm>
          <a:off x="0" y="455441"/>
          <a:ext cx="3424091" cy="680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BC3FD9C-E314-4323-9B7D-DDF7E6162B2C}">
      <dsp:nvSpPr>
        <dsp:cNvPr id="0" name=""/>
        <dsp:cNvSpPr/>
      </dsp:nvSpPr>
      <dsp:spPr>
        <a:xfrm>
          <a:off x="171204" y="56921"/>
          <a:ext cx="3171146" cy="797040"/>
        </a:xfrm>
        <a:prstGeom prst="roundRect">
          <a:avLst/>
        </a:prstGeom>
        <a:solidFill>
          <a:srgbClr val="00339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0596" tIns="0" rIns="90596" bIns="0" numCol="1" spcCol="1270" anchor="ctr" anchorCtr="0">
          <a:noAutofit/>
        </a:bodyPr>
        <a:lstStyle/>
        <a:p>
          <a:pPr marL="0" lvl="0" indent="0" algn="just" defTabSz="800100">
            <a:lnSpc>
              <a:spcPct val="90000"/>
            </a:lnSpc>
            <a:spcBef>
              <a:spcPct val="0"/>
            </a:spcBef>
            <a:spcAft>
              <a:spcPct val="35000"/>
            </a:spcAft>
            <a:buNone/>
          </a:pPr>
          <a:r>
            <a:rPr lang="es-MX" sz="1800" kern="1200" dirty="0"/>
            <a:t>Nivel 1: Técnico</a:t>
          </a:r>
          <a:endParaRPr lang="es-PE" sz="1800" kern="1200" dirty="0"/>
        </a:p>
      </dsp:txBody>
      <dsp:txXfrm>
        <a:off x="210112" y="95829"/>
        <a:ext cx="3093330" cy="719224"/>
      </dsp:txXfrm>
    </dsp:sp>
    <dsp:sp modelId="{A7876987-67A3-44D3-9E45-705ACD582AA5}">
      <dsp:nvSpPr>
        <dsp:cNvPr id="0" name=""/>
        <dsp:cNvSpPr/>
      </dsp:nvSpPr>
      <dsp:spPr>
        <a:xfrm>
          <a:off x="0" y="1680161"/>
          <a:ext cx="3424091" cy="680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D4DA83C-056B-4BB1-9BF9-29537A694BF3}">
      <dsp:nvSpPr>
        <dsp:cNvPr id="0" name=""/>
        <dsp:cNvSpPr/>
      </dsp:nvSpPr>
      <dsp:spPr>
        <a:xfrm>
          <a:off x="171204" y="1281641"/>
          <a:ext cx="3171146" cy="797040"/>
        </a:xfrm>
        <a:prstGeom prst="roundRect">
          <a:avLst/>
        </a:prstGeom>
        <a:solidFill>
          <a:srgbClr val="00339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0596" tIns="0" rIns="90596" bIns="0" numCol="1" spcCol="1270" anchor="ctr" anchorCtr="0">
          <a:noAutofit/>
        </a:bodyPr>
        <a:lstStyle/>
        <a:p>
          <a:pPr marL="0" lvl="0" indent="0" algn="just" defTabSz="800100">
            <a:lnSpc>
              <a:spcPct val="90000"/>
            </a:lnSpc>
            <a:spcBef>
              <a:spcPct val="0"/>
            </a:spcBef>
            <a:spcAft>
              <a:spcPct val="35000"/>
            </a:spcAft>
            <a:buNone/>
          </a:pPr>
          <a:r>
            <a:rPr lang="es-PE" sz="1800" kern="1200" dirty="0"/>
            <a:t>Nivel 2: Negocio (Fuentes)</a:t>
          </a:r>
        </a:p>
      </dsp:txBody>
      <dsp:txXfrm>
        <a:off x="210112" y="1320549"/>
        <a:ext cx="3093330" cy="719224"/>
      </dsp:txXfrm>
    </dsp:sp>
    <dsp:sp modelId="{DDA9D4A1-C5A1-44D2-B5D7-1654129DE836}">
      <dsp:nvSpPr>
        <dsp:cNvPr id="0" name=""/>
        <dsp:cNvSpPr/>
      </dsp:nvSpPr>
      <dsp:spPr>
        <a:xfrm>
          <a:off x="0" y="2904881"/>
          <a:ext cx="3424091" cy="680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56C630B-5A70-4AEE-9DAC-BC67ABBF66B0}">
      <dsp:nvSpPr>
        <dsp:cNvPr id="0" name=""/>
        <dsp:cNvSpPr/>
      </dsp:nvSpPr>
      <dsp:spPr>
        <a:xfrm>
          <a:off x="171204" y="2506361"/>
          <a:ext cx="3171146" cy="797040"/>
        </a:xfrm>
        <a:prstGeom prst="roundRect">
          <a:avLst/>
        </a:prstGeom>
        <a:solidFill>
          <a:srgbClr val="00339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0596" tIns="0" rIns="90596" bIns="0" numCol="1" spcCol="1270" anchor="ctr" anchorCtr="0">
          <a:noAutofit/>
        </a:bodyPr>
        <a:lstStyle/>
        <a:p>
          <a:pPr marL="0" lvl="0" indent="0" algn="just" defTabSz="800100">
            <a:lnSpc>
              <a:spcPct val="90000"/>
            </a:lnSpc>
            <a:spcBef>
              <a:spcPct val="0"/>
            </a:spcBef>
            <a:spcAft>
              <a:spcPct val="35000"/>
            </a:spcAft>
            <a:buNone/>
          </a:pPr>
          <a:r>
            <a:rPr lang="es-PE" sz="1800" kern="1200" dirty="0"/>
            <a:t>Nivel 3: Reglas de Calidad</a:t>
          </a:r>
        </a:p>
      </dsp:txBody>
      <dsp:txXfrm>
        <a:off x="210112" y="2545269"/>
        <a:ext cx="3093330" cy="71922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391F0E-EEA9-4D4B-B406-7091E9058C41}">
      <dsp:nvSpPr>
        <dsp:cNvPr id="0" name=""/>
        <dsp:cNvSpPr/>
      </dsp:nvSpPr>
      <dsp:spPr>
        <a:xfrm>
          <a:off x="5568380" y="1332520"/>
          <a:ext cx="4614102" cy="400397"/>
        </a:xfrm>
        <a:custGeom>
          <a:avLst/>
          <a:gdLst/>
          <a:ahLst/>
          <a:cxnLst/>
          <a:rect l="0" t="0" r="0" b="0"/>
          <a:pathLst>
            <a:path>
              <a:moveTo>
                <a:pt x="0" y="0"/>
              </a:moveTo>
              <a:lnTo>
                <a:pt x="0" y="200198"/>
              </a:lnTo>
              <a:lnTo>
                <a:pt x="4614102" y="200198"/>
              </a:lnTo>
              <a:lnTo>
                <a:pt x="4614102" y="4003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0046BBF-9E1B-462D-9B36-80D688F8A8D2}">
      <dsp:nvSpPr>
        <dsp:cNvPr id="0" name=""/>
        <dsp:cNvSpPr/>
      </dsp:nvSpPr>
      <dsp:spPr>
        <a:xfrm>
          <a:off x="5568380" y="1332520"/>
          <a:ext cx="2307051" cy="400397"/>
        </a:xfrm>
        <a:custGeom>
          <a:avLst/>
          <a:gdLst/>
          <a:ahLst/>
          <a:cxnLst/>
          <a:rect l="0" t="0" r="0" b="0"/>
          <a:pathLst>
            <a:path>
              <a:moveTo>
                <a:pt x="0" y="0"/>
              </a:moveTo>
              <a:lnTo>
                <a:pt x="0" y="200198"/>
              </a:lnTo>
              <a:lnTo>
                <a:pt x="2307051" y="200198"/>
              </a:lnTo>
              <a:lnTo>
                <a:pt x="2307051" y="4003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34367BA-4EB5-4A8C-B75E-2FFBCE1CFAC9}">
      <dsp:nvSpPr>
        <dsp:cNvPr id="0" name=""/>
        <dsp:cNvSpPr/>
      </dsp:nvSpPr>
      <dsp:spPr>
        <a:xfrm>
          <a:off x="5522660" y="1332520"/>
          <a:ext cx="91440" cy="400397"/>
        </a:xfrm>
        <a:custGeom>
          <a:avLst/>
          <a:gdLst/>
          <a:ahLst/>
          <a:cxnLst/>
          <a:rect l="0" t="0" r="0" b="0"/>
          <a:pathLst>
            <a:path>
              <a:moveTo>
                <a:pt x="45720" y="0"/>
              </a:moveTo>
              <a:lnTo>
                <a:pt x="45720" y="4003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BE6A244-7441-4699-BA40-6FF473AC95F1}">
      <dsp:nvSpPr>
        <dsp:cNvPr id="0" name=""/>
        <dsp:cNvSpPr/>
      </dsp:nvSpPr>
      <dsp:spPr>
        <a:xfrm>
          <a:off x="3261329" y="1332520"/>
          <a:ext cx="2307051" cy="400397"/>
        </a:xfrm>
        <a:custGeom>
          <a:avLst/>
          <a:gdLst/>
          <a:ahLst/>
          <a:cxnLst/>
          <a:rect l="0" t="0" r="0" b="0"/>
          <a:pathLst>
            <a:path>
              <a:moveTo>
                <a:pt x="2307051" y="0"/>
              </a:moveTo>
              <a:lnTo>
                <a:pt x="2307051" y="200198"/>
              </a:lnTo>
              <a:lnTo>
                <a:pt x="0" y="200198"/>
              </a:lnTo>
              <a:lnTo>
                <a:pt x="0" y="4003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B2ED020-D078-4EF1-9B69-3319175DB247}">
      <dsp:nvSpPr>
        <dsp:cNvPr id="0" name=""/>
        <dsp:cNvSpPr/>
      </dsp:nvSpPr>
      <dsp:spPr>
        <a:xfrm>
          <a:off x="954278" y="1332520"/>
          <a:ext cx="4614102" cy="400397"/>
        </a:xfrm>
        <a:custGeom>
          <a:avLst/>
          <a:gdLst/>
          <a:ahLst/>
          <a:cxnLst/>
          <a:rect l="0" t="0" r="0" b="0"/>
          <a:pathLst>
            <a:path>
              <a:moveTo>
                <a:pt x="4614102" y="0"/>
              </a:moveTo>
              <a:lnTo>
                <a:pt x="4614102" y="200198"/>
              </a:lnTo>
              <a:lnTo>
                <a:pt x="0" y="200198"/>
              </a:lnTo>
              <a:lnTo>
                <a:pt x="0" y="4003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73ED5B3-12DA-4A3F-8BD7-BB0ED78F8DDD}">
      <dsp:nvSpPr>
        <dsp:cNvPr id="0" name=""/>
        <dsp:cNvSpPr/>
      </dsp:nvSpPr>
      <dsp:spPr>
        <a:xfrm>
          <a:off x="4615054" y="379193"/>
          <a:ext cx="1906653" cy="953326"/>
        </a:xfrm>
        <a:prstGeom prst="rect">
          <a:avLst/>
        </a:prstGeom>
        <a:solidFill>
          <a:srgbClr val="00999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s-PE" sz="1400" kern="1200" dirty="0"/>
            <a:t>Pre-Producción</a:t>
          </a:r>
        </a:p>
      </dsp:txBody>
      <dsp:txXfrm>
        <a:off x="4615054" y="379193"/>
        <a:ext cx="1906653" cy="953326"/>
      </dsp:txXfrm>
    </dsp:sp>
    <dsp:sp modelId="{F893B5C8-4BE4-497A-AE33-5930B73E1927}">
      <dsp:nvSpPr>
        <dsp:cNvPr id="0" name=""/>
        <dsp:cNvSpPr/>
      </dsp:nvSpPr>
      <dsp:spPr>
        <a:xfrm>
          <a:off x="951" y="1732918"/>
          <a:ext cx="1906653" cy="953326"/>
        </a:xfrm>
        <a:prstGeom prst="rect">
          <a:avLst/>
        </a:prstGeom>
        <a:solidFill>
          <a:srgbClr val="00999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s-PE" sz="1400" kern="1200" dirty="0"/>
            <a:t>Formato de relevamiento y mapeo para ingesta</a:t>
          </a:r>
        </a:p>
      </dsp:txBody>
      <dsp:txXfrm>
        <a:off x="951" y="1732918"/>
        <a:ext cx="1906653" cy="953326"/>
      </dsp:txXfrm>
    </dsp:sp>
    <dsp:sp modelId="{83099111-BD0B-477D-BDE1-988F5649BCB5}">
      <dsp:nvSpPr>
        <dsp:cNvPr id="0" name=""/>
        <dsp:cNvSpPr/>
      </dsp:nvSpPr>
      <dsp:spPr>
        <a:xfrm>
          <a:off x="2308002" y="1732918"/>
          <a:ext cx="1906653" cy="953326"/>
        </a:xfrm>
        <a:prstGeom prst="rect">
          <a:avLst/>
        </a:prstGeom>
        <a:solidFill>
          <a:srgbClr val="00999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s-MX" sz="1400" kern="1200" dirty="0"/>
            <a:t>Registros de los </a:t>
          </a:r>
          <a:r>
            <a:rPr lang="es-MX" sz="1400" kern="1200" dirty="0" err="1"/>
            <a:t>path</a:t>
          </a:r>
          <a:r>
            <a:rPr lang="es-MX" sz="1400" kern="1200" dirty="0"/>
            <a:t> data </a:t>
          </a:r>
          <a:r>
            <a:rPr lang="es-MX" sz="1400" kern="1200" dirty="0" err="1"/>
            <a:t>inventory</a:t>
          </a:r>
          <a:r>
            <a:rPr lang="es-MX" sz="1400" kern="1200" dirty="0"/>
            <a:t> y análisis de equivalencias de datos</a:t>
          </a:r>
          <a:endParaRPr lang="es-PE" sz="1400" kern="1200" dirty="0"/>
        </a:p>
      </dsp:txBody>
      <dsp:txXfrm>
        <a:off x="2308002" y="1732918"/>
        <a:ext cx="1906653" cy="953326"/>
      </dsp:txXfrm>
    </dsp:sp>
    <dsp:sp modelId="{B3357C74-ADFC-4DAE-9B34-DD9154FB0E62}">
      <dsp:nvSpPr>
        <dsp:cNvPr id="0" name=""/>
        <dsp:cNvSpPr/>
      </dsp:nvSpPr>
      <dsp:spPr>
        <a:xfrm>
          <a:off x="4615054" y="1732918"/>
          <a:ext cx="1906653" cy="953326"/>
        </a:xfrm>
        <a:prstGeom prst="rect">
          <a:avLst/>
        </a:prstGeom>
        <a:solidFill>
          <a:srgbClr val="00999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s-PE" sz="1400" kern="1200" dirty="0"/>
            <a:t>Diccionario de datos</a:t>
          </a:r>
        </a:p>
      </dsp:txBody>
      <dsp:txXfrm>
        <a:off x="4615054" y="1732918"/>
        <a:ext cx="1906653" cy="953326"/>
      </dsp:txXfrm>
    </dsp:sp>
    <dsp:sp modelId="{C2CBDC68-244A-469B-9172-49EA35CF49E3}">
      <dsp:nvSpPr>
        <dsp:cNvPr id="0" name=""/>
        <dsp:cNvSpPr/>
      </dsp:nvSpPr>
      <dsp:spPr>
        <a:xfrm>
          <a:off x="6922105" y="1732918"/>
          <a:ext cx="1906653" cy="953326"/>
        </a:xfrm>
        <a:prstGeom prst="rect">
          <a:avLst/>
        </a:prstGeom>
        <a:solidFill>
          <a:srgbClr val="00999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s-PE" sz="1400" kern="1200" dirty="0"/>
            <a:t>Definición de reglas de calidad</a:t>
          </a:r>
        </a:p>
      </dsp:txBody>
      <dsp:txXfrm>
        <a:off x="6922105" y="1732918"/>
        <a:ext cx="1906653" cy="953326"/>
      </dsp:txXfrm>
    </dsp:sp>
    <dsp:sp modelId="{C46CDA02-76D0-4269-AA5D-60DBD9C508E8}">
      <dsp:nvSpPr>
        <dsp:cNvPr id="0" name=""/>
        <dsp:cNvSpPr/>
      </dsp:nvSpPr>
      <dsp:spPr>
        <a:xfrm>
          <a:off x="9229156" y="1732918"/>
          <a:ext cx="1906653" cy="953326"/>
        </a:xfrm>
        <a:prstGeom prst="rect">
          <a:avLst/>
        </a:prstGeom>
        <a:solidFill>
          <a:srgbClr val="00999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s-PE" sz="1400" kern="1200" dirty="0"/>
            <a:t>Elaboración de matriz de accesos Unity Catalog Databricks</a:t>
          </a:r>
        </a:p>
      </dsp:txBody>
      <dsp:txXfrm>
        <a:off x="9229156" y="1732918"/>
        <a:ext cx="1906653" cy="95332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9510ED-47D8-44F8-BF44-E07AB8A6A657}">
      <dsp:nvSpPr>
        <dsp:cNvPr id="0" name=""/>
        <dsp:cNvSpPr/>
      </dsp:nvSpPr>
      <dsp:spPr>
        <a:xfrm>
          <a:off x="5568380" y="1075837"/>
          <a:ext cx="2599030" cy="451071"/>
        </a:xfrm>
        <a:custGeom>
          <a:avLst/>
          <a:gdLst/>
          <a:ahLst/>
          <a:cxnLst/>
          <a:rect l="0" t="0" r="0" b="0"/>
          <a:pathLst>
            <a:path>
              <a:moveTo>
                <a:pt x="0" y="0"/>
              </a:moveTo>
              <a:lnTo>
                <a:pt x="0" y="225535"/>
              </a:lnTo>
              <a:lnTo>
                <a:pt x="2599030" y="225535"/>
              </a:lnTo>
              <a:lnTo>
                <a:pt x="2599030" y="45107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C39C893-3764-4BE7-B513-35EB4E12B19B}">
      <dsp:nvSpPr>
        <dsp:cNvPr id="0" name=""/>
        <dsp:cNvSpPr/>
      </dsp:nvSpPr>
      <dsp:spPr>
        <a:xfrm>
          <a:off x="5522660" y="1075837"/>
          <a:ext cx="91440" cy="451071"/>
        </a:xfrm>
        <a:custGeom>
          <a:avLst/>
          <a:gdLst/>
          <a:ahLst/>
          <a:cxnLst/>
          <a:rect l="0" t="0" r="0" b="0"/>
          <a:pathLst>
            <a:path>
              <a:moveTo>
                <a:pt x="45720" y="0"/>
              </a:moveTo>
              <a:lnTo>
                <a:pt x="45720" y="45107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B2ED020-D078-4EF1-9B69-3319175DB247}">
      <dsp:nvSpPr>
        <dsp:cNvPr id="0" name=""/>
        <dsp:cNvSpPr/>
      </dsp:nvSpPr>
      <dsp:spPr>
        <a:xfrm>
          <a:off x="2969350" y="1075837"/>
          <a:ext cx="2599030" cy="451071"/>
        </a:xfrm>
        <a:custGeom>
          <a:avLst/>
          <a:gdLst/>
          <a:ahLst/>
          <a:cxnLst/>
          <a:rect l="0" t="0" r="0" b="0"/>
          <a:pathLst>
            <a:path>
              <a:moveTo>
                <a:pt x="2599030" y="0"/>
              </a:moveTo>
              <a:lnTo>
                <a:pt x="2599030" y="225535"/>
              </a:lnTo>
              <a:lnTo>
                <a:pt x="0" y="225535"/>
              </a:lnTo>
              <a:lnTo>
                <a:pt x="0" y="45107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73ED5B3-12DA-4A3F-8BD7-BB0ED78F8DDD}">
      <dsp:nvSpPr>
        <dsp:cNvPr id="0" name=""/>
        <dsp:cNvSpPr/>
      </dsp:nvSpPr>
      <dsp:spPr>
        <a:xfrm>
          <a:off x="4494401" y="1857"/>
          <a:ext cx="2147959" cy="1073979"/>
        </a:xfrm>
        <a:prstGeom prst="rect">
          <a:avLst/>
        </a:prstGeom>
        <a:solidFill>
          <a:srgbClr val="00999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s-PE" sz="1500" kern="1200" dirty="0"/>
            <a:t>Implementación</a:t>
          </a:r>
        </a:p>
      </dsp:txBody>
      <dsp:txXfrm>
        <a:off x="4494401" y="1857"/>
        <a:ext cx="2147959" cy="1073979"/>
      </dsp:txXfrm>
    </dsp:sp>
    <dsp:sp modelId="{F893B5C8-4BE4-497A-AE33-5930B73E1927}">
      <dsp:nvSpPr>
        <dsp:cNvPr id="0" name=""/>
        <dsp:cNvSpPr/>
      </dsp:nvSpPr>
      <dsp:spPr>
        <a:xfrm>
          <a:off x="1895370" y="1526908"/>
          <a:ext cx="2147959" cy="1073979"/>
        </a:xfrm>
        <a:prstGeom prst="rect">
          <a:avLst/>
        </a:prstGeom>
        <a:solidFill>
          <a:srgbClr val="00999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s-PE" sz="1500" kern="1200" dirty="0"/>
            <a:t>Plantilla Ms. Purview</a:t>
          </a:r>
        </a:p>
      </dsp:txBody>
      <dsp:txXfrm>
        <a:off x="1895370" y="1526908"/>
        <a:ext cx="2147959" cy="1073979"/>
      </dsp:txXfrm>
    </dsp:sp>
    <dsp:sp modelId="{825E9CD5-F56F-442E-8B63-11F35F22FD86}">
      <dsp:nvSpPr>
        <dsp:cNvPr id="0" name=""/>
        <dsp:cNvSpPr/>
      </dsp:nvSpPr>
      <dsp:spPr>
        <a:xfrm>
          <a:off x="4494401" y="1526908"/>
          <a:ext cx="2147959" cy="1073979"/>
        </a:xfrm>
        <a:prstGeom prst="rect">
          <a:avLst/>
        </a:prstGeom>
        <a:solidFill>
          <a:srgbClr val="00999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s-PE" sz="1500" kern="1200" dirty="0"/>
            <a:t>Registro y validación de metadatos</a:t>
          </a:r>
        </a:p>
      </dsp:txBody>
      <dsp:txXfrm>
        <a:off x="4494401" y="1526908"/>
        <a:ext cx="2147959" cy="1073979"/>
      </dsp:txXfrm>
    </dsp:sp>
    <dsp:sp modelId="{489A85BF-E2AB-41C6-B535-3C618D950DBD}">
      <dsp:nvSpPr>
        <dsp:cNvPr id="0" name=""/>
        <dsp:cNvSpPr/>
      </dsp:nvSpPr>
      <dsp:spPr>
        <a:xfrm>
          <a:off x="7093432" y="1526908"/>
          <a:ext cx="2147959" cy="1073979"/>
        </a:xfrm>
        <a:prstGeom prst="rect">
          <a:avLst/>
        </a:prstGeom>
        <a:solidFill>
          <a:srgbClr val="00999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s-PE" sz="1500" kern="1200" dirty="0"/>
            <a:t>Capacitación y transferencias</a:t>
          </a:r>
        </a:p>
      </dsp:txBody>
      <dsp:txXfrm>
        <a:off x="7093432" y="1526908"/>
        <a:ext cx="2147959" cy="1073979"/>
      </dsp:txXfrm>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PE"/>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18A29D5-0A35-4FC5-B2B9-ABFFB37CB2B9}" type="datetimeFigureOut">
              <a:rPr lang="es-PE" smtClean="0"/>
              <a:t>17/09/2025</a:t>
            </a:fld>
            <a:endParaRPr lang="es-PE"/>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PE"/>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PE"/>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35F44E-15BA-4501-AEC2-8CDDBC57A573}" type="slidenum">
              <a:rPr lang="es-PE" smtClean="0"/>
              <a:t>‹Nº›</a:t>
            </a:fld>
            <a:endParaRPr lang="es-PE"/>
          </a:p>
        </p:txBody>
      </p:sp>
    </p:spTree>
    <p:extLst>
      <p:ext uri="{BB962C8B-B14F-4D97-AF65-F5344CB8AC3E}">
        <p14:creationId xmlns:p14="http://schemas.microsoft.com/office/powerpoint/2010/main" val="15087065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PE"/>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4AAE59-4C7F-4CCF-8643-14ECAA3DD8AD}" type="slidenum">
              <a:rPr kumimoji="0" lang="es-P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s-P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27958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8C1452-075F-78D9-1362-8AE330DF67D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76FD612-BF65-2C40-F8BE-B32429467D32}"/>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A7C85646-9B66-25AF-B210-0E9EC0B6B62F}"/>
              </a:ext>
            </a:extLst>
          </p:cNvPr>
          <p:cNvSpPr>
            <a:spLocks noGrp="1"/>
          </p:cNvSpPr>
          <p:nvPr>
            <p:ph type="body" idx="1"/>
          </p:nvPr>
        </p:nvSpPr>
        <p:spPr/>
        <p:txBody>
          <a:bodyPr/>
          <a:lstStyle/>
          <a:p>
            <a:r>
              <a:rPr lang="es-PE" dirty="0"/>
              <a:t>Agregar animaciones </a:t>
            </a:r>
          </a:p>
        </p:txBody>
      </p:sp>
      <p:sp>
        <p:nvSpPr>
          <p:cNvPr id="4" name="Marcador de número de diapositiva 3">
            <a:extLst>
              <a:ext uri="{FF2B5EF4-FFF2-40B4-BE49-F238E27FC236}">
                <a16:creationId xmlns:a16="http://schemas.microsoft.com/office/drawing/2014/main" id="{629A92BC-D4C0-B566-75F8-06191687B49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4AAE59-4C7F-4CCF-8643-14ECAA3DD8AD}" type="slidenum">
              <a:rPr kumimoji="0" lang="es-P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s-P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7673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D89E85-6923-096B-8ABF-7F658F73AB7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5D83A816-76C0-BB79-0925-D8B73A0E7F69}"/>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9966911-241B-F1AC-8875-4D4F21431C84}"/>
              </a:ext>
            </a:extLst>
          </p:cNvPr>
          <p:cNvSpPr>
            <a:spLocks noGrp="1"/>
          </p:cNvSpPr>
          <p:nvPr>
            <p:ph type="body" idx="1"/>
          </p:nvPr>
        </p:nvSpPr>
        <p:spPr/>
        <p:txBody>
          <a:bodyPr/>
          <a:lstStyle/>
          <a:p>
            <a:r>
              <a:rPr lang="es-PE" dirty="0"/>
              <a:t>Agregar contenido</a:t>
            </a:r>
          </a:p>
        </p:txBody>
      </p:sp>
      <p:sp>
        <p:nvSpPr>
          <p:cNvPr id="4" name="Marcador de número de diapositiva 3">
            <a:extLst>
              <a:ext uri="{FF2B5EF4-FFF2-40B4-BE49-F238E27FC236}">
                <a16:creationId xmlns:a16="http://schemas.microsoft.com/office/drawing/2014/main" id="{25777A04-A2FA-E229-DD6A-A86C881DDD3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4AAE59-4C7F-4CCF-8643-14ECAA3DD8AD}" type="slidenum">
              <a:rPr kumimoji="0" lang="es-P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s-P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06531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735F09-6740-CA57-C34A-78DCD8E7F7B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C2D545F9-1D6F-1A37-46D5-39C62BAA0AC6}"/>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648CCD24-D79B-8114-ECCE-7EF22E882E9A}"/>
              </a:ext>
            </a:extLst>
          </p:cNvPr>
          <p:cNvSpPr>
            <a:spLocks noGrp="1"/>
          </p:cNvSpPr>
          <p:nvPr>
            <p:ph type="body" idx="1"/>
          </p:nvPr>
        </p:nvSpPr>
        <p:spPr/>
        <p:txBody>
          <a:bodyPr/>
          <a:lstStyle/>
          <a:p>
            <a:endParaRPr lang="es-PE"/>
          </a:p>
        </p:txBody>
      </p:sp>
      <p:sp>
        <p:nvSpPr>
          <p:cNvPr id="4" name="Marcador de número de diapositiva 3">
            <a:extLst>
              <a:ext uri="{FF2B5EF4-FFF2-40B4-BE49-F238E27FC236}">
                <a16:creationId xmlns:a16="http://schemas.microsoft.com/office/drawing/2014/main" id="{B45C98B3-E49D-DA96-E853-1D6988E72E2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4AAE59-4C7F-4CCF-8643-14ECAA3DD8AD}" type="slidenum">
              <a:rPr kumimoji="0" lang="es-P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s-P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41560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PE" dirty="0"/>
          </a:p>
        </p:txBody>
      </p:sp>
      <p:sp>
        <p:nvSpPr>
          <p:cNvPr id="4" name="Marcador de número de diapositiva 3"/>
          <p:cNvSpPr>
            <a:spLocks noGrp="1"/>
          </p:cNvSpPr>
          <p:nvPr>
            <p:ph type="sldNum" sz="quarter" idx="5"/>
          </p:nvPr>
        </p:nvSpPr>
        <p:spPr/>
        <p:txBody>
          <a:bodyPr/>
          <a:lstStyle/>
          <a:p>
            <a:fld id="{D423F3DE-6D2D-428D-A57A-231BD937152B}" type="slidenum">
              <a:rPr lang="es-PE" smtClean="0"/>
              <a:t>14</a:t>
            </a:fld>
            <a:endParaRPr lang="es-PE"/>
          </a:p>
        </p:txBody>
      </p:sp>
    </p:spTree>
    <p:extLst>
      <p:ext uri="{BB962C8B-B14F-4D97-AF65-F5344CB8AC3E}">
        <p14:creationId xmlns:p14="http://schemas.microsoft.com/office/powerpoint/2010/main" val="20516632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B8033C-6734-5E30-9184-4D3FCD268E2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6134B18-00FA-B5DC-59A0-A1BA0AA21A3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2CFB2B9C-60BE-E60C-AA47-4638F6446363}"/>
              </a:ext>
            </a:extLst>
          </p:cNvPr>
          <p:cNvSpPr>
            <a:spLocks noGrp="1"/>
          </p:cNvSpPr>
          <p:nvPr>
            <p:ph type="body" idx="1"/>
          </p:nvPr>
        </p:nvSpPr>
        <p:spPr/>
        <p:txBody>
          <a:bodyPr/>
          <a:lstStyle/>
          <a:p>
            <a:endParaRPr lang="es-PE" dirty="0"/>
          </a:p>
        </p:txBody>
      </p:sp>
      <p:sp>
        <p:nvSpPr>
          <p:cNvPr id="4" name="Marcador de número de diapositiva 3">
            <a:extLst>
              <a:ext uri="{FF2B5EF4-FFF2-40B4-BE49-F238E27FC236}">
                <a16:creationId xmlns:a16="http://schemas.microsoft.com/office/drawing/2014/main" id="{919AAD93-EC77-F4A7-3DC7-320E44EBCCE7}"/>
              </a:ext>
            </a:extLst>
          </p:cNvPr>
          <p:cNvSpPr>
            <a:spLocks noGrp="1"/>
          </p:cNvSpPr>
          <p:nvPr>
            <p:ph type="sldNum" sz="quarter" idx="5"/>
          </p:nvPr>
        </p:nvSpPr>
        <p:spPr/>
        <p:txBody>
          <a:bodyPr/>
          <a:lstStyle/>
          <a:p>
            <a:fld id="{D423F3DE-6D2D-428D-A57A-231BD937152B}" type="slidenum">
              <a:rPr lang="es-PE" smtClean="0"/>
              <a:t>16</a:t>
            </a:fld>
            <a:endParaRPr lang="es-PE"/>
          </a:p>
        </p:txBody>
      </p:sp>
    </p:spTree>
    <p:extLst>
      <p:ext uri="{BB962C8B-B14F-4D97-AF65-F5344CB8AC3E}">
        <p14:creationId xmlns:p14="http://schemas.microsoft.com/office/powerpoint/2010/main" val="18542866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5F4531-FBE8-7CCB-7D9A-D7BE1D07A23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2D5F5E7C-009A-85C6-0FA5-7DB3CE3F792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C0962D2E-420C-77BE-FF14-E1B074673658}"/>
              </a:ext>
            </a:extLst>
          </p:cNvPr>
          <p:cNvSpPr>
            <a:spLocks noGrp="1"/>
          </p:cNvSpPr>
          <p:nvPr>
            <p:ph type="body" idx="1"/>
          </p:nvPr>
        </p:nvSpPr>
        <p:spPr/>
        <p:txBody>
          <a:bodyPr/>
          <a:lstStyle/>
          <a:p>
            <a:endParaRPr lang="es-PE" dirty="0"/>
          </a:p>
        </p:txBody>
      </p:sp>
      <p:sp>
        <p:nvSpPr>
          <p:cNvPr id="4" name="Marcador de número de diapositiva 3">
            <a:extLst>
              <a:ext uri="{FF2B5EF4-FFF2-40B4-BE49-F238E27FC236}">
                <a16:creationId xmlns:a16="http://schemas.microsoft.com/office/drawing/2014/main" id="{7B1AF750-6D31-9E9A-3A4F-FB1245156296}"/>
              </a:ext>
            </a:extLst>
          </p:cNvPr>
          <p:cNvSpPr>
            <a:spLocks noGrp="1"/>
          </p:cNvSpPr>
          <p:nvPr>
            <p:ph type="sldNum" sz="quarter" idx="5"/>
          </p:nvPr>
        </p:nvSpPr>
        <p:spPr/>
        <p:txBody>
          <a:bodyPr/>
          <a:lstStyle/>
          <a:p>
            <a:fld id="{D423F3DE-6D2D-428D-A57A-231BD937152B}" type="slidenum">
              <a:rPr lang="es-PE" smtClean="0"/>
              <a:t>17</a:t>
            </a:fld>
            <a:endParaRPr lang="es-PE"/>
          </a:p>
        </p:txBody>
      </p:sp>
    </p:spTree>
    <p:extLst>
      <p:ext uri="{BB962C8B-B14F-4D97-AF65-F5344CB8AC3E}">
        <p14:creationId xmlns:p14="http://schemas.microsoft.com/office/powerpoint/2010/main" val="27186955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AF8100-6D1A-E959-5E0C-7B3A2A03FF42}"/>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C67CBACC-5840-2639-D9E5-F247230EC13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C565E144-2725-8B42-E16E-693FFE566A6B}"/>
              </a:ext>
            </a:extLst>
          </p:cNvPr>
          <p:cNvSpPr>
            <a:spLocks noGrp="1"/>
          </p:cNvSpPr>
          <p:nvPr>
            <p:ph type="body" idx="1"/>
          </p:nvPr>
        </p:nvSpPr>
        <p:spPr/>
        <p:txBody>
          <a:bodyPr/>
          <a:lstStyle/>
          <a:p>
            <a:endParaRPr lang="es-PE"/>
          </a:p>
        </p:txBody>
      </p:sp>
      <p:sp>
        <p:nvSpPr>
          <p:cNvPr id="4" name="Marcador de número de diapositiva 3">
            <a:extLst>
              <a:ext uri="{FF2B5EF4-FFF2-40B4-BE49-F238E27FC236}">
                <a16:creationId xmlns:a16="http://schemas.microsoft.com/office/drawing/2014/main" id="{6BFBCA50-725E-57D2-BB81-8F0FBDE6E6D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4AAE59-4C7F-4CCF-8643-14ECAA3DD8AD}" type="slidenum">
              <a:rPr kumimoji="0" lang="es-P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s-P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84034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A9DE36-53C4-BA69-41AC-7EF30D02B47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E401643-345D-1AC7-20EB-232AA4214E49}"/>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CC62491-2C92-9192-0159-22EB8AA71F1A}"/>
              </a:ext>
            </a:extLst>
          </p:cNvPr>
          <p:cNvSpPr>
            <a:spLocks noGrp="1"/>
          </p:cNvSpPr>
          <p:nvPr>
            <p:ph type="body" idx="1"/>
          </p:nvPr>
        </p:nvSpPr>
        <p:spPr/>
        <p:txBody>
          <a:bodyPr/>
          <a:lstStyle/>
          <a:p>
            <a:r>
              <a:rPr lang="es-PE" dirty="0"/>
              <a:t>Agregar animaciones </a:t>
            </a:r>
          </a:p>
        </p:txBody>
      </p:sp>
      <p:sp>
        <p:nvSpPr>
          <p:cNvPr id="4" name="Marcador de número de diapositiva 3">
            <a:extLst>
              <a:ext uri="{FF2B5EF4-FFF2-40B4-BE49-F238E27FC236}">
                <a16:creationId xmlns:a16="http://schemas.microsoft.com/office/drawing/2014/main" id="{A7C71577-F873-5A07-10FF-12C1FE2AC2B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4AAE59-4C7F-4CCF-8643-14ECAA3DD8AD}" type="slidenum">
              <a:rPr kumimoji="0" lang="es-P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s-P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45397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655878-8D21-AB14-5AF9-7CFA0DDDB08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95DC963-C231-AA72-81C0-B4CD2CEEC85A}"/>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4DD4170-F4F1-C4AA-189D-90446E6380CE}"/>
              </a:ext>
            </a:extLst>
          </p:cNvPr>
          <p:cNvSpPr>
            <a:spLocks noGrp="1"/>
          </p:cNvSpPr>
          <p:nvPr>
            <p:ph type="body" idx="1"/>
          </p:nvPr>
        </p:nvSpPr>
        <p:spPr/>
        <p:txBody>
          <a:bodyPr/>
          <a:lstStyle/>
          <a:p>
            <a:r>
              <a:rPr lang="es-MX" dirty="0"/>
              <a:t>Formato de relevamiento: El método de migración lo llena el Ing. de Datos. La información de la migración también se completa por el Ing. de Datos. </a:t>
            </a:r>
          </a:p>
          <a:p>
            <a:r>
              <a:rPr lang="es-MX" dirty="0"/>
              <a:t>La seguridad del dato y la información de gobierno de datos. Para el Optimus TIN no hay datos personales altamente sensibles (DPA), por ende, tampoco requiere cifrado. El dato crítico para el negocio (DCN) requiere un seguimiento especial. </a:t>
            </a:r>
          </a:p>
          <a:p>
            <a:r>
              <a:rPr lang="es-MX" dirty="0"/>
              <a:t>Entidad regulatoria: no aplica, salvo que sea un proceso que tenga que ver con un tema regulatorio. Esto pasa en banca, aseguradora, fintechs.</a:t>
            </a:r>
          </a:p>
          <a:p>
            <a:r>
              <a:rPr lang="es-MX" dirty="0"/>
              <a:t>Nivel de seguridad del dato: todos son datos internos.</a:t>
            </a:r>
            <a:r>
              <a:rPr lang="es-PE" dirty="0"/>
              <a:t> El dato crítico es una cuarta clasificación que es netamente del gobierno del dato.</a:t>
            </a:r>
          </a:p>
          <a:p>
            <a:pPr marL="0" marR="0" lvl="0" indent="0" algn="l" defTabSz="914400" rtl="0" eaLnBrk="1" fontAlgn="auto" latinLnBrk="0" hangingPunct="1">
              <a:lnSpc>
                <a:spcPct val="100000"/>
              </a:lnSpc>
              <a:spcBef>
                <a:spcPts val="0"/>
              </a:spcBef>
              <a:spcAft>
                <a:spcPts val="0"/>
              </a:spcAft>
              <a:buClrTx/>
              <a:buSzTx/>
              <a:buFontTx/>
              <a:buNone/>
              <a:tabLst/>
              <a:defRPr/>
            </a:pPr>
            <a:r>
              <a:rPr lang="es-MX" sz="1200" dirty="0"/>
              <a:t>Registros de los </a:t>
            </a:r>
            <a:r>
              <a:rPr lang="es-MX" sz="1200" dirty="0" err="1"/>
              <a:t>path</a:t>
            </a:r>
            <a:r>
              <a:rPr lang="es-MX" sz="1200" dirty="0"/>
              <a:t> data </a:t>
            </a:r>
            <a:r>
              <a:rPr lang="es-MX" sz="1200" dirty="0" err="1"/>
              <a:t>inventory</a:t>
            </a:r>
            <a:r>
              <a:rPr lang="es-MX" sz="1200" dirty="0"/>
              <a:t> y análisis de equivalencias de datos: luego de que la información se encuentre en prelanding, cuáles son los nombres y las rutas que van a tener los esquemas, los catálogos, las capas donde va a encontrarse esta información (donde va a trasladarse). Se deben declarar estas rutas (se llena junto al Arq. de Datos). Capa bronce es prelanding. Quality (se aplican reglas de calidad) y </a:t>
            </a:r>
            <a:r>
              <a:rPr lang="es-MX" sz="1200" dirty="0" err="1"/>
              <a:t>Curated</a:t>
            </a:r>
            <a:r>
              <a:rPr lang="es-MX" sz="1200" dirty="0"/>
              <a:t> (se aplican las reglas del negocio) son parte de la capa plata. </a:t>
            </a:r>
            <a:r>
              <a:rPr lang="es-MX" sz="1200" dirty="0" err="1"/>
              <a:t>Enrichment</a:t>
            </a:r>
            <a:r>
              <a:rPr lang="es-MX" sz="1200" dirty="0"/>
              <a:t> es capa oro.</a:t>
            </a:r>
          </a:p>
          <a:p>
            <a:pPr marL="0" marR="0" lvl="0" indent="0" algn="l" defTabSz="914400" rtl="0" eaLnBrk="1" fontAlgn="auto" latinLnBrk="0" hangingPunct="1">
              <a:lnSpc>
                <a:spcPct val="100000"/>
              </a:lnSpc>
              <a:spcBef>
                <a:spcPts val="0"/>
              </a:spcBef>
              <a:spcAft>
                <a:spcPts val="0"/>
              </a:spcAft>
              <a:buClrTx/>
              <a:buSzTx/>
              <a:buFontTx/>
              <a:buNone/>
              <a:tabLst/>
              <a:defRPr/>
            </a:pPr>
            <a:r>
              <a:rPr lang="es-MX" sz="1200" dirty="0"/>
              <a:t>Diccionario de datos: Los datos se declaran cuando estén dentro del </a:t>
            </a:r>
            <a:r>
              <a:rPr lang="es-MX" sz="1200" dirty="0" err="1"/>
              <a:t>datalake</a:t>
            </a:r>
            <a:r>
              <a:rPr lang="es-MX" sz="1200" dirty="0"/>
              <a:t>, por eso se tiene </a:t>
            </a:r>
            <a:r>
              <a:rPr lang="es-MX" sz="1200" dirty="0" err="1"/>
              <a:t>dev_bronze_landing</a:t>
            </a:r>
            <a:r>
              <a:rPr lang="es-MX" sz="1200" dirty="0"/>
              <a:t>, </a:t>
            </a:r>
            <a:r>
              <a:rPr lang="es-MX" sz="1200" dirty="0" err="1"/>
              <a:t>del_gold_enrichment</a:t>
            </a:r>
            <a:r>
              <a:rPr lang="es-MX" sz="1200" dirty="0"/>
              <a:t>, </a:t>
            </a:r>
            <a:r>
              <a:rPr lang="es-MX" sz="1200" dirty="0" err="1"/>
              <a:t>dev_silver_curated</a:t>
            </a:r>
            <a:r>
              <a:rPr lang="es-MX" sz="1200" dirty="0"/>
              <a:t> y </a:t>
            </a:r>
            <a:r>
              <a:rPr lang="es-MX" sz="1200" dirty="0" err="1"/>
              <a:t>dev_silver_quality</a:t>
            </a:r>
            <a:r>
              <a:rPr lang="es-MX" sz="1200" dirty="0"/>
              <a:t>. Ya no hay prelanding, porque todo lo que estaba en prelanding porque todo lo que estaba en prelanding está en los orígenes de datos.</a:t>
            </a:r>
          </a:p>
          <a:p>
            <a:pPr marL="0" marR="0" lvl="0" indent="0" algn="l" defTabSz="914400" rtl="0" eaLnBrk="1" fontAlgn="auto" latinLnBrk="0" hangingPunct="1">
              <a:lnSpc>
                <a:spcPct val="100000"/>
              </a:lnSpc>
              <a:spcBef>
                <a:spcPts val="0"/>
              </a:spcBef>
              <a:spcAft>
                <a:spcPts val="0"/>
              </a:spcAft>
              <a:buClrTx/>
              <a:buSzTx/>
              <a:buFontTx/>
              <a:buNone/>
              <a:tabLst/>
              <a:defRPr/>
            </a:pPr>
            <a:r>
              <a:rPr lang="es-MX" sz="1200" dirty="0"/>
              <a:t>Reglas de calidad: ¿A qué campos se van a aplicar? Se define en conjunto con Ing. de Datos. Las llaves primarias sí o sí pasan por reglas de calidad. El negocio de repente tiene un dato crítico que considere hacerse seguimiento, porque quiere estar completo o que no sea nulo. Informar a Daniela que ya se tienen las reglas de calidad. Ellos lo subirán en una plataforma para aplicarlo en el Databricks.</a:t>
            </a:r>
          </a:p>
          <a:p>
            <a:pPr marL="0" marR="0" lvl="0" indent="0" algn="l" defTabSz="914400" rtl="0" eaLnBrk="1" fontAlgn="auto" latinLnBrk="0" hangingPunct="1">
              <a:lnSpc>
                <a:spcPct val="100000"/>
              </a:lnSpc>
              <a:spcBef>
                <a:spcPts val="0"/>
              </a:spcBef>
              <a:spcAft>
                <a:spcPts val="0"/>
              </a:spcAft>
              <a:buClrTx/>
              <a:buSzTx/>
              <a:buFontTx/>
              <a:buNone/>
              <a:tabLst/>
              <a:defRPr/>
            </a:pPr>
            <a:r>
              <a:rPr lang="es-PE" sz="1200" dirty="0"/>
              <a:t>Matriz de accesos: Se analiza con el PO del proyecto (Daniela).</a:t>
            </a:r>
          </a:p>
          <a:p>
            <a:pPr marL="0" marR="0" lvl="0" indent="0" algn="l" defTabSz="914400" rtl="0" eaLnBrk="1" fontAlgn="auto" latinLnBrk="0" hangingPunct="1">
              <a:lnSpc>
                <a:spcPct val="100000"/>
              </a:lnSpc>
              <a:spcBef>
                <a:spcPts val="0"/>
              </a:spcBef>
              <a:spcAft>
                <a:spcPts val="0"/>
              </a:spcAft>
              <a:buClrTx/>
              <a:buSzTx/>
              <a:buFontTx/>
              <a:buNone/>
              <a:tabLst/>
              <a:defRPr/>
            </a:pPr>
            <a:r>
              <a:rPr lang="es-PE" sz="1200" dirty="0"/>
              <a:t>Una vez que se termina con esta actualización, se manda a Kevin (</a:t>
            </a:r>
            <a:r>
              <a:rPr lang="es-PE" sz="1200" dirty="0" err="1"/>
              <a:t>Adm</a:t>
            </a:r>
            <a:r>
              <a:rPr lang="es-PE" sz="1200" dirty="0"/>
              <a:t>. de Databricks) y él va actualizar los permisos en Unity Catalog.</a:t>
            </a:r>
          </a:p>
        </p:txBody>
      </p:sp>
      <p:sp>
        <p:nvSpPr>
          <p:cNvPr id="4" name="Marcador de número de diapositiva 3">
            <a:extLst>
              <a:ext uri="{FF2B5EF4-FFF2-40B4-BE49-F238E27FC236}">
                <a16:creationId xmlns:a16="http://schemas.microsoft.com/office/drawing/2014/main" id="{45FFA8EE-BED5-D0CF-3D0B-115E1E4C63A6}"/>
              </a:ext>
            </a:extLst>
          </p:cNvPr>
          <p:cNvSpPr>
            <a:spLocks noGrp="1"/>
          </p:cNvSpPr>
          <p:nvPr>
            <p:ph type="sldNum" sz="quarter" idx="5"/>
          </p:nvPr>
        </p:nvSpPr>
        <p:spPr/>
        <p:txBody>
          <a:bodyPr/>
          <a:lstStyle/>
          <a:p>
            <a:fld id="{D423F3DE-6D2D-428D-A57A-231BD937152B}" type="slidenum">
              <a:rPr lang="es-PE" smtClean="0"/>
              <a:t>20</a:t>
            </a:fld>
            <a:endParaRPr lang="es-PE"/>
          </a:p>
        </p:txBody>
      </p:sp>
    </p:spTree>
    <p:extLst>
      <p:ext uri="{BB962C8B-B14F-4D97-AF65-F5344CB8AC3E}">
        <p14:creationId xmlns:p14="http://schemas.microsoft.com/office/powerpoint/2010/main" val="1993876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8EBEEB-E062-6F73-F205-968D6B6269C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E1B4B158-908A-DA96-0E2D-47F2E7DD7D31}"/>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74DB156A-11C1-2E35-EA93-37765202655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PE" sz="1200" dirty="0"/>
          </a:p>
        </p:txBody>
      </p:sp>
      <p:sp>
        <p:nvSpPr>
          <p:cNvPr id="4" name="Marcador de número de diapositiva 3">
            <a:extLst>
              <a:ext uri="{FF2B5EF4-FFF2-40B4-BE49-F238E27FC236}">
                <a16:creationId xmlns:a16="http://schemas.microsoft.com/office/drawing/2014/main" id="{D51A2A45-983C-D237-B692-5DB5CDAF95EC}"/>
              </a:ext>
            </a:extLst>
          </p:cNvPr>
          <p:cNvSpPr>
            <a:spLocks noGrp="1"/>
          </p:cNvSpPr>
          <p:nvPr>
            <p:ph type="sldNum" sz="quarter" idx="5"/>
          </p:nvPr>
        </p:nvSpPr>
        <p:spPr/>
        <p:txBody>
          <a:bodyPr/>
          <a:lstStyle/>
          <a:p>
            <a:fld id="{D423F3DE-6D2D-428D-A57A-231BD937152B}" type="slidenum">
              <a:rPr lang="es-PE" smtClean="0"/>
              <a:t>21</a:t>
            </a:fld>
            <a:endParaRPr lang="es-PE"/>
          </a:p>
        </p:txBody>
      </p:sp>
    </p:spTree>
    <p:extLst>
      <p:ext uri="{BB962C8B-B14F-4D97-AF65-F5344CB8AC3E}">
        <p14:creationId xmlns:p14="http://schemas.microsoft.com/office/powerpoint/2010/main" val="25900322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PE"/>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4AAE59-4C7F-4CCF-8643-14ECAA3DD8AD}" type="slidenum">
              <a:rPr kumimoji="0" lang="es-P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s-P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7965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44DD15-2F46-137D-5A6A-BEA9A8413CE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91F969E-3FD1-4C30-120B-4F975414067A}"/>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031EAC11-A315-3E3A-00B2-9FE5577F7BBD}"/>
              </a:ext>
            </a:extLst>
          </p:cNvPr>
          <p:cNvSpPr>
            <a:spLocks noGrp="1"/>
          </p:cNvSpPr>
          <p:nvPr>
            <p:ph type="body" idx="1"/>
          </p:nvPr>
        </p:nvSpPr>
        <p:spPr/>
        <p:txBody>
          <a:bodyPr/>
          <a:lstStyle/>
          <a:p>
            <a:endParaRPr lang="es-PE"/>
          </a:p>
        </p:txBody>
      </p:sp>
      <p:sp>
        <p:nvSpPr>
          <p:cNvPr id="4" name="Marcador de número de diapositiva 3">
            <a:extLst>
              <a:ext uri="{FF2B5EF4-FFF2-40B4-BE49-F238E27FC236}">
                <a16:creationId xmlns:a16="http://schemas.microsoft.com/office/drawing/2014/main" id="{7DA736A5-B9F5-2E15-0CE4-5A9126B30F8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4AAE59-4C7F-4CCF-8643-14ECAA3DD8AD}" type="slidenum">
              <a:rPr kumimoji="0" lang="es-P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s-P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62378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316C38-65EA-45F5-0942-60A1654FCE6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1AD76E1-0491-1B3E-59B0-93A027DC9764}"/>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7A35DB7F-2970-8E87-EFD4-9409B8DD4EBB}"/>
              </a:ext>
            </a:extLst>
          </p:cNvPr>
          <p:cNvSpPr>
            <a:spLocks noGrp="1"/>
          </p:cNvSpPr>
          <p:nvPr>
            <p:ph type="body" idx="1"/>
          </p:nvPr>
        </p:nvSpPr>
        <p:spPr/>
        <p:txBody>
          <a:bodyPr/>
          <a:lstStyle/>
          <a:p>
            <a:pPr algn="l"/>
            <a:r>
              <a:rPr lang="es-PE" sz="1200" dirty="0">
                <a:latin typeface="Trebuchet MS" panose="020B0603020202020204" pitchFamily="34" charset="0"/>
              </a:rPr>
              <a:t>Min 01:08:08 Link para entrar al esquema de un </a:t>
            </a:r>
            <a:r>
              <a:rPr lang="es-PE" sz="1200" dirty="0" err="1">
                <a:latin typeface="Trebuchet MS" panose="020B0603020202020204" pitchFamily="34" charset="0"/>
              </a:rPr>
              <a:t>powerBI</a:t>
            </a:r>
            <a:endParaRPr lang="es-PE" sz="1200" dirty="0">
              <a:latin typeface="Trebuchet MS" panose="020B0603020202020204" pitchFamily="34" charset="0"/>
            </a:endParaRPr>
          </a:p>
        </p:txBody>
      </p:sp>
      <p:sp>
        <p:nvSpPr>
          <p:cNvPr id="4" name="Marcador de número de diapositiva 3">
            <a:extLst>
              <a:ext uri="{FF2B5EF4-FFF2-40B4-BE49-F238E27FC236}">
                <a16:creationId xmlns:a16="http://schemas.microsoft.com/office/drawing/2014/main" id="{301AD016-E262-65BC-F78A-AA4C6844AF2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4AAE59-4C7F-4CCF-8643-14ECAA3DD8AD}" type="slidenum">
              <a:rPr kumimoji="0" lang="es-P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s-P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16307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01EC8-14B5-AC78-D5D6-B1CA26B4923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5BD9FA6-810F-69BD-498A-048579E90908}"/>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FD56D62F-6CF3-13AF-60FD-ED45302C9848}"/>
              </a:ext>
            </a:extLst>
          </p:cNvPr>
          <p:cNvSpPr>
            <a:spLocks noGrp="1"/>
          </p:cNvSpPr>
          <p:nvPr>
            <p:ph type="body" idx="1"/>
          </p:nvPr>
        </p:nvSpPr>
        <p:spPr/>
        <p:txBody>
          <a:bodyPr/>
          <a:lstStyle/>
          <a:p>
            <a:endParaRPr lang="es-PE"/>
          </a:p>
        </p:txBody>
      </p:sp>
      <p:sp>
        <p:nvSpPr>
          <p:cNvPr id="4" name="Marcador de número de diapositiva 3">
            <a:extLst>
              <a:ext uri="{FF2B5EF4-FFF2-40B4-BE49-F238E27FC236}">
                <a16:creationId xmlns:a16="http://schemas.microsoft.com/office/drawing/2014/main" id="{1660677E-4732-0BB4-76DD-CFFC6927C11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4AAE59-4C7F-4CCF-8643-14ECAA3DD8AD}" type="slidenum">
              <a:rPr kumimoji="0" lang="es-P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s-P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92644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FDE617-3AAC-85A3-69A2-C19CCF10136C}"/>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A4DB370-654A-43D6-E83A-5E0FFB4BFDE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3076D09-5EAA-2FA1-724A-0BA419F526CB}"/>
              </a:ext>
            </a:extLst>
          </p:cNvPr>
          <p:cNvSpPr>
            <a:spLocks noGrp="1"/>
          </p:cNvSpPr>
          <p:nvPr>
            <p:ph type="body" idx="1"/>
          </p:nvPr>
        </p:nvSpPr>
        <p:spPr/>
        <p:txBody>
          <a:bodyPr/>
          <a:lstStyle/>
          <a:p>
            <a:endParaRPr lang="es-PE"/>
          </a:p>
        </p:txBody>
      </p:sp>
      <p:sp>
        <p:nvSpPr>
          <p:cNvPr id="4" name="Marcador de número de diapositiva 3">
            <a:extLst>
              <a:ext uri="{FF2B5EF4-FFF2-40B4-BE49-F238E27FC236}">
                <a16:creationId xmlns:a16="http://schemas.microsoft.com/office/drawing/2014/main" id="{B626FDDE-D1ED-97A7-AF8A-90EE23CBD6B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4AAE59-4C7F-4CCF-8643-14ECAA3DD8AD}" type="slidenum">
              <a:rPr kumimoji="0" lang="es-P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s-P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95423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06B904-A7CD-10F9-8E48-A9D2A5A373DE}"/>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A1CBD0D-2DC0-40C8-E2BC-7CE71F7F46B5}"/>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FA080BED-EE85-F7AE-711C-3300E6910B06}"/>
              </a:ext>
            </a:extLst>
          </p:cNvPr>
          <p:cNvSpPr>
            <a:spLocks noGrp="1"/>
          </p:cNvSpPr>
          <p:nvPr>
            <p:ph type="body" idx="1"/>
          </p:nvPr>
        </p:nvSpPr>
        <p:spPr/>
        <p:txBody>
          <a:bodyPr/>
          <a:lstStyle/>
          <a:p>
            <a:endParaRPr lang="es-PE"/>
          </a:p>
        </p:txBody>
      </p:sp>
      <p:sp>
        <p:nvSpPr>
          <p:cNvPr id="4" name="Marcador de número de diapositiva 3">
            <a:extLst>
              <a:ext uri="{FF2B5EF4-FFF2-40B4-BE49-F238E27FC236}">
                <a16:creationId xmlns:a16="http://schemas.microsoft.com/office/drawing/2014/main" id="{9A94D091-5AE2-2F82-C898-EAE8A62CE35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4AAE59-4C7F-4CCF-8643-14ECAA3DD8AD}" type="slidenum">
              <a:rPr kumimoji="0" lang="es-P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s-P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18033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5D6443-2B63-6042-E760-557DF628AD2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97CCC3C-CD91-B1F0-F3AD-CF7ECE30ED6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C3A5CC6-05AB-D95F-CCA6-3DB3914FAF07}"/>
              </a:ext>
            </a:extLst>
          </p:cNvPr>
          <p:cNvSpPr>
            <a:spLocks noGrp="1"/>
          </p:cNvSpPr>
          <p:nvPr>
            <p:ph type="body" idx="1"/>
          </p:nvPr>
        </p:nvSpPr>
        <p:spPr/>
        <p:txBody>
          <a:bodyPr/>
          <a:lstStyle/>
          <a:p>
            <a:endParaRPr lang="es-PE"/>
          </a:p>
        </p:txBody>
      </p:sp>
      <p:sp>
        <p:nvSpPr>
          <p:cNvPr id="4" name="Marcador de número de diapositiva 3">
            <a:extLst>
              <a:ext uri="{FF2B5EF4-FFF2-40B4-BE49-F238E27FC236}">
                <a16:creationId xmlns:a16="http://schemas.microsoft.com/office/drawing/2014/main" id="{7FC60C0D-9BBD-ACD0-4CC8-D06E10C3324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4AAE59-4C7F-4CCF-8643-14ECAA3DD8AD}" type="slidenum">
              <a:rPr kumimoji="0" lang="es-P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s-P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61640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0E393C-98AF-9469-625F-BD32C31E4092}"/>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935516F-37F0-4E24-69A0-EB538E138DE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11DA472-EF9C-6157-8DA1-507D876A4DA2}"/>
              </a:ext>
            </a:extLst>
          </p:cNvPr>
          <p:cNvSpPr>
            <a:spLocks noGrp="1"/>
          </p:cNvSpPr>
          <p:nvPr>
            <p:ph type="body" idx="1"/>
          </p:nvPr>
        </p:nvSpPr>
        <p:spPr/>
        <p:txBody>
          <a:bodyPr/>
          <a:lstStyle/>
          <a:p>
            <a:pPr algn="just">
              <a:lnSpc>
                <a:spcPts val="1313"/>
              </a:lnSpc>
              <a:spcBef>
                <a:spcPts val="675"/>
              </a:spcBef>
            </a:pPr>
            <a:r>
              <a:rPr lang="es-PE" sz="1200" noProof="0" dirty="0">
                <a:latin typeface="Trebuchet MS" panose="020B0603020202020204" pitchFamily="34" charset="0"/>
                <a:ea typeface="Lato Light" panose="020F0502020204030203" pitchFamily="34" charset="0"/>
                <a:cs typeface="Lato Light" panose="020F0502020204030203" pitchFamily="34" charset="0"/>
              </a:rPr>
              <a:t>Solicitud de Arquitectura: Documento con los requerimientos funcionales y no funcionales del usuario. </a:t>
            </a:r>
            <a:r>
              <a:rPr lang="es-PE" sz="1200" noProof="0" dirty="0" err="1">
                <a:latin typeface="Trebuchet MS" panose="020B0603020202020204" pitchFamily="34" charset="0"/>
                <a:ea typeface="Lato Light" panose="020F0502020204030203" pitchFamily="34" charset="0"/>
                <a:cs typeface="Lato Light" panose="020F0502020204030203" pitchFamily="34" charset="0"/>
              </a:rPr>
              <a:t>Asd</a:t>
            </a:r>
            <a:endParaRPr lang="es-PE" sz="1200" noProof="0" dirty="0">
              <a:latin typeface="Trebuchet MS" panose="020B0603020202020204" pitchFamily="34" charset="0"/>
              <a:ea typeface="Lato Light" panose="020F0502020204030203" pitchFamily="34" charset="0"/>
              <a:cs typeface="Lato Light" panose="020F0502020204030203" pitchFamily="34" charset="0"/>
            </a:endParaRPr>
          </a:p>
          <a:p>
            <a:pPr algn="just">
              <a:lnSpc>
                <a:spcPts val="1313"/>
              </a:lnSpc>
              <a:spcBef>
                <a:spcPts val="675"/>
              </a:spcBef>
            </a:pPr>
            <a:r>
              <a:rPr lang="es-PE" sz="1200" noProof="0" dirty="0">
                <a:latin typeface="Trebuchet MS" panose="020B0603020202020204" pitchFamily="34" charset="0"/>
                <a:ea typeface="Lato Light" panose="020F0502020204030203" pitchFamily="34" charset="0"/>
                <a:cs typeface="Lato Light" panose="020F0502020204030203" pitchFamily="34" charset="0"/>
              </a:rPr>
              <a:t>Artefacto de Arquitectura: Documento de diseño con diagramas e información necesaria para desarrolladores y equipo </a:t>
            </a:r>
            <a:r>
              <a:rPr lang="es-PE" sz="1200" noProof="0" dirty="0" err="1">
                <a:latin typeface="Trebuchet MS" panose="020B0603020202020204" pitchFamily="34" charset="0"/>
                <a:ea typeface="Lato Light" panose="020F0502020204030203" pitchFamily="34" charset="0"/>
                <a:cs typeface="Lato Light" panose="020F0502020204030203" pitchFamily="34" charset="0"/>
              </a:rPr>
              <a:t>técnico.dasd</a:t>
            </a:r>
            <a:r>
              <a:rPr lang="es-PE" sz="1200" noProof="0" dirty="0">
                <a:latin typeface="Trebuchet MS" panose="020B0603020202020204" pitchFamily="34" charset="0"/>
                <a:ea typeface="Lato Light" panose="020F0502020204030203" pitchFamily="34" charset="0"/>
                <a:cs typeface="Lato Light" panose="020F0502020204030203" pitchFamily="34" charset="0"/>
              </a:rPr>
              <a:t> </a:t>
            </a:r>
          </a:p>
          <a:p>
            <a:pPr algn="just">
              <a:lnSpc>
                <a:spcPts val="1313"/>
              </a:lnSpc>
              <a:spcBef>
                <a:spcPts val="675"/>
              </a:spcBef>
            </a:pPr>
            <a:r>
              <a:rPr lang="es-PE" sz="1200" noProof="0" dirty="0">
                <a:latin typeface="Trebuchet MS" panose="020B0603020202020204" pitchFamily="34" charset="0"/>
                <a:ea typeface="Lato Light" panose="020F0502020204030203" pitchFamily="34" charset="0"/>
                <a:cs typeface="Lato Light" panose="020F0502020204030203" pitchFamily="34" charset="0"/>
              </a:rPr>
              <a:t>Arquitectura de Excepción: Documento de diseño de cambios o mejoras menores con diagramas e información necesaria para desarrolladores y equipo técnico. </a:t>
            </a:r>
            <a:r>
              <a:rPr lang="es-PE" sz="1200" noProof="0" dirty="0" err="1">
                <a:latin typeface="Trebuchet MS" panose="020B0603020202020204" pitchFamily="34" charset="0"/>
                <a:ea typeface="Lato Light" panose="020F0502020204030203" pitchFamily="34" charset="0"/>
                <a:cs typeface="Lato Light" panose="020F0502020204030203" pitchFamily="34" charset="0"/>
              </a:rPr>
              <a:t>Asd</a:t>
            </a:r>
            <a:endParaRPr lang="es-PE" sz="1200" noProof="0" dirty="0">
              <a:latin typeface="Trebuchet MS" panose="020B0603020202020204" pitchFamily="34" charset="0"/>
              <a:ea typeface="Lato Light" panose="020F0502020204030203" pitchFamily="34" charset="0"/>
              <a:cs typeface="Lato Light" panose="020F0502020204030203" pitchFamily="34" charset="0"/>
            </a:endParaRPr>
          </a:p>
          <a:p>
            <a:pPr algn="just">
              <a:lnSpc>
                <a:spcPts val="1313"/>
              </a:lnSpc>
              <a:spcBef>
                <a:spcPts val="675"/>
              </a:spcBef>
            </a:pPr>
            <a:endParaRPr lang="es-PE" sz="1200" noProof="0" dirty="0">
              <a:latin typeface="Trebuchet MS" panose="020B0603020202020204" pitchFamily="34" charset="0"/>
              <a:ea typeface="Lato Light" panose="020F0502020204030203" pitchFamily="34" charset="0"/>
              <a:cs typeface="Lato Light" panose="020F0502020204030203" pitchFamily="34" charset="0"/>
            </a:endParaRPr>
          </a:p>
        </p:txBody>
      </p:sp>
      <p:sp>
        <p:nvSpPr>
          <p:cNvPr id="4" name="Marcador de número de diapositiva 3">
            <a:extLst>
              <a:ext uri="{FF2B5EF4-FFF2-40B4-BE49-F238E27FC236}">
                <a16:creationId xmlns:a16="http://schemas.microsoft.com/office/drawing/2014/main" id="{45822692-F9D7-6AEA-E230-7B615D3A008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4AAE59-4C7F-4CCF-8643-14ECAA3DD8AD}" type="slidenum">
              <a:rPr kumimoji="0" lang="es-P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s-P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96641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EFD14D-81D0-29CA-E2BC-2563BBB79D6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C011BE4-BBC7-9662-5FAF-21A1E5CD9321}"/>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222CCCF6-1989-863F-FAF8-BF5C474D3241}"/>
              </a:ext>
            </a:extLst>
          </p:cNvPr>
          <p:cNvSpPr>
            <a:spLocks noGrp="1"/>
          </p:cNvSpPr>
          <p:nvPr>
            <p:ph type="body" idx="1"/>
          </p:nvPr>
        </p:nvSpPr>
        <p:spPr/>
        <p:txBody>
          <a:bodyPr/>
          <a:lstStyle/>
          <a:p>
            <a:endParaRPr lang="es-PE"/>
          </a:p>
        </p:txBody>
      </p:sp>
      <p:sp>
        <p:nvSpPr>
          <p:cNvPr id="4" name="Marcador de número de diapositiva 3">
            <a:extLst>
              <a:ext uri="{FF2B5EF4-FFF2-40B4-BE49-F238E27FC236}">
                <a16:creationId xmlns:a16="http://schemas.microsoft.com/office/drawing/2014/main" id="{8494CBBD-1217-E55D-68EF-9BE112A5363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4AAE59-4C7F-4CCF-8643-14ECAA3DD8AD}" type="slidenum">
              <a:rPr kumimoji="0" lang="es-P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s-P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7095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8DDA15-7391-8BF1-02AA-DE7EB87A9953}"/>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96BFE22-E372-E3FA-73A7-C87A6AB7B428}"/>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B0703037-DB93-DA52-8C3E-F6559A123DF0}"/>
              </a:ext>
            </a:extLst>
          </p:cNvPr>
          <p:cNvSpPr>
            <a:spLocks noGrp="1"/>
          </p:cNvSpPr>
          <p:nvPr>
            <p:ph type="body" idx="1"/>
          </p:nvPr>
        </p:nvSpPr>
        <p:spPr/>
        <p:txBody>
          <a:bodyPr/>
          <a:lstStyle/>
          <a:p>
            <a:r>
              <a:rPr lang="es-PE" dirty="0" err="1"/>
              <a:t>Feedback</a:t>
            </a:r>
            <a:r>
              <a:rPr lang="es-PE" dirty="0"/>
              <a:t>: considerar los formatos de </a:t>
            </a:r>
            <a:r>
              <a:rPr lang="es-PE" dirty="0" err="1"/>
              <a:t>landing</a:t>
            </a:r>
            <a:r>
              <a:rPr lang="es-PE" dirty="0"/>
              <a:t> como delta </a:t>
            </a:r>
            <a:r>
              <a:rPr lang="es-PE" dirty="0" err="1"/>
              <a:t>lake</a:t>
            </a:r>
            <a:r>
              <a:rPr lang="es-PE" dirty="0"/>
              <a:t> y no como </a:t>
            </a:r>
            <a:r>
              <a:rPr lang="es-PE" dirty="0" err="1"/>
              <a:t>parquet</a:t>
            </a:r>
          </a:p>
        </p:txBody>
      </p:sp>
      <p:sp>
        <p:nvSpPr>
          <p:cNvPr id="4" name="Marcador de número de diapositiva 3">
            <a:extLst>
              <a:ext uri="{FF2B5EF4-FFF2-40B4-BE49-F238E27FC236}">
                <a16:creationId xmlns:a16="http://schemas.microsoft.com/office/drawing/2014/main" id="{F28275B4-FB33-917B-3580-280D6A36DD4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4AAE59-4C7F-4CCF-8643-14ECAA3DD8AD}" type="slidenum">
              <a:rPr kumimoji="0" lang="es-P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s-P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32810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8B67CD5-B690-54D6-55F7-7A36CD7B623D}"/>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PE"/>
          </a:p>
        </p:txBody>
      </p:sp>
      <p:sp>
        <p:nvSpPr>
          <p:cNvPr id="3" name="Subtítulo 2">
            <a:extLst>
              <a:ext uri="{FF2B5EF4-FFF2-40B4-BE49-F238E27FC236}">
                <a16:creationId xmlns:a16="http://schemas.microsoft.com/office/drawing/2014/main" id="{6313CF31-9CB2-297B-008E-62335723EAA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PE"/>
          </a:p>
        </p:txBody>
      </p:sp>
      <p:sp>
        <p:nvSpPr>
          <p:cNvPr id="4" name="Marcador de fecha 3">
            <a:extLst>
              <a:ext uri="{FF2B5EF4-FFF2-40B4-BE49-F238E27FC236}">
                <a16:creationId xmlns:a16="http://schemas.microsoft.com/office/drawing/2014/main" id="{93AA5F47-FB25-22DB-BA6B-850DE3B0AAEC}"/>
              </a:ext>
            </a:extLst>
          </p:cNvPr>
          <p:cNvSpPr>
            <a:spLocks noGrp="1"/>
          </p:cNvSpPr>
          <p:nvPr>
            <p:ph type="dt" sz="half" idx="10"/>
          </p:nvPr>
        </p:nvSpPr>
        <p:spPr/>
        <p:txBody>
          <a:bodyPr/>
          <a:lstStyle/>
          <a:p>
            <a:fld id="{B6144E57-838B-45CF-8AC9-9CC4293E450F}" type="datetimeFigureOut">
              <a:rPr lang="es-PE" smtClean="0"/>
              <a:t>17/09/2025</a:t>
            </a:fld>
            <a:endParaRPr lang="es-PE"/>
          </a:p>
        </p:txBody>
      </p:sp>
      <p:sp>
        <p:nvSpPr>
          <p:cNvPr id="5" name="Marcador de pie de página 4">
            <a:extLst>
              <a:ext uri="{FF2B5EF4-FFF2-40B4-BE49-F238E27FC236}">
                <a16:creationId xmlns:a16="http://schemas.microsoft.com/office/drawing/2014/main" id="{B0BC69F4-780D-8646-86C9-779EFA1950AB}"/>
              </a:ext>
            </a:extLst>
          </p:cNvPr>
          <p:cNvSpPr>
            <a:spLocks noGrp="1"/>
          </p:cNvSpPr>
          <p:nvPr>
            <p:ph type="ftr" sz="quarter" idx="11"/>
          </p:nvPr>
        </p:nvSpPr>
        <p:spPr/>
        <p:txBody>
          <a:bodyPr/>
          <a:lstStyle/>
          <a:p>
            <a:endParaRPr lang="es-PE"/>
          </a:p>
        </p:txBody>
      </p:sp>
      <p:sp>
        <p:nvSpPr>
          <p:cNvPr id="6" name="Marcador de número de diapositiva 5">
            <a:extLst>
              <a:ext uri="{FF2B5EF4-FFF2-40B4-BE49-F238E27FC236}">
                <a16:creationId xmlns:a16="http://schemas.microsoft.com/office/drawing/2014/main" id="{7631E705-5396-6F38-3195-E85E2AC67704}"/>
              </a:ext>
            </a:extLst>
          </p:cNvPr>
          <p:cNvSpPr>
            <a:spLocks noGrp="1"/>
          </p:cNvSpPr>
          <p:nvPr>
            <p:ph type="sldNum" sz="quarter" idx="12"/>
          </p:nvPr>
        </p:nvSpPr>
        <p:spPr/>
        <p:txBody>
          <a:bodyPr/>
          <a:lstStyle/>
          <a:p>
            <a:fld id="{97A5CCFA-0EC6-46B4-AA2D-F35516E6938C}" type="slidenum">
              <a:rPr lang="es-PE" smtClean="0"/>
              <a:t>‹Nº›</a:t>
            </a:fld>
            <a:endParaRPr lang="es-PE"/>
          </a:p>
        </p:txBody>
      </p:sp>
    </p:spTree>
    <p:extLst>
      <p:ext uri="{BB962C8B-B14F-4D97-AF65-F5344CB8AC3E}">
        <p14:creationId xmlns:p14="http://schemas.microsoft.com/office/powerpoint/2010/main" val="33050590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C3C287D-6542-9B8F-57C2-DAE38431DF1E}"/>
              </a:ext>
            </a:extLst>
          </p:cNvPr>
          <p:cNvSpPr>
            <a:spLocks noGrp="1"/>
          </p:cNvSpPr>
          <p:nvPr>
            <p:ph type="title"/>
          </p:nvPr>
        </p:nvSpPr>
        <p:spPr/>
        <p:txBody>
          <a:bodyPr/>
          <a:lstStyle/>
          <a:p>
            <a:r>
              <a:rPr lang="es-ES"/>
              <a:t>Haga clic para modificar el estilo de título del patrón</a:t>
            </a:r>
            <a:endParaRPr lang="es-PE"/>
          </a:p>
        </p:txBody>
      </p:sp>
      <p:sp>
        <p:nvSpPr>
          <p:cNvPr id="3" name="Marcador de texto vertical 2">
            <a:extLst>
              <a:ext uri="{FF2B5EF4-FFF2-40B4-BE49-F238E27FC236}">
                <a16:creationId xmlns:a16="http://schemas.microsoft.com/office/drawing/2014/main" id="{D3E20A3E-997D-4B37-580E-D61DF23178AE}"/>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fecha 3">
            <a:extLst>
              <a:ext uri="{FF2B5EF4-FFF2-40B4-BE49-F238E27FC236}">
                <a16:creationId xmlns:a16="http://schemas.microsoft.com/office/drawing/2014/main" id="{E69CF4DD-08F5-02FC-8A0E-22EE47391BA5}"/>
              </a:ext>
            </a:extLst>
          </p:cNvPr>
          <p:cNvSpPr>
            <a:spLocks noGrp="1"/>
          </p:cNvSpPr>
          <p:nvPr>
            <p:ph type="dt" sz="half" idx="10"/>
          </p:nvPr>
        </p:nvSpPr>
        <p:spPr/>
        <p:txBody>
          <a:bodyPr/>
          <a:lstStyle/>
          <a:p>
            <a:fld id="{B6144E57-838B-45CF-8AC9-9CC4293E450F}" type="datetimeFigureOut">
              <a:rPr lang="es-PE" smtClean="0"/>
              <a:t>17/09/2025</a:t>
            </a:fld>
            <a:endParaRPr lang="es-PE"/>
          </a:p>
        </p:txBody>
      </p:sp>
      <p:sp>
        <p:nvSpPr>
          <p:cNvPr id="5" name="Marcador de pie de página 4">
            <a:extLst>
              <a:ext uri="{FF2B5EF4-FFF2-40B4-BE49-F238E27FC236}">
                <a16:creationId xmlns:a16="http://schemas.microsoft.com/office/drawing/2014/main" id="{22AB3BF3-82DA-2070-95FE-BEDA8412ADA0}"/>
              </a:ext>
            </a:extLst>
          </p:cNvPr>
          <p:cNvSpPr>
            <a:spLocks noGrp="1"/>
          </p:cNvSpPr>
          <p:nvPr>
            <p:ph type="ftr" sz="quarter" idx="11"/>
          </p:nvPr>
        </p:nvSpPr>
        <p:spPr/>
        <p:txBody>
          <a:bodyPr/>
          <a:lstStyle/>
          <a:p>
            <a:endParaRPr lang="es-PE"/>
          </a:p>
        </p:txBody>
      </p:sp>
      <p:sp>
        <p:nvSpPr>
          <p:cNvPr id="6" name="Marcador de número de diapositiva 5">
            <a:extLst>
              <a:ext uri="{FF2B5EF4-FFF2-40B4-BE49-F238E27FC236}">
                <a16:creationId xmlns:a16="http://schemas.microsoft.com/office/drawing/2014/main" id="{CE3B8C91-1DB2-5301-75E0-AA68FB8484D3}"/>
              </a:ext>
            </a:extLst>
          </p:cNvPr>
          <p:cNvSpPr>
            <a:spLocks noGrp="1"/>
          </p:cNvSpPr>
          <p:nvPr>
            <p:ph type="sldNum" sz="quarter" idx="12"/>
          </p:nvPr>
        </p:nvSpPr>
        <p:spPr/>
        <p:txBody>
          <a:bodyPr/>
          <a:lstStyle/>
          <a:p>
            <a:fld id="{97A5CCFA-0EC6-46B4-AA2D-F35516E6938C}" type="slidenum">
              <a:rPr lang="es-PE" smtClean="0"/>
              <a:t>‹Nº›</a:t>
            </a:fld>
            <a:endParaRPr lang="es-PE"/>
          </a:p>
        </p:txBody>
      </p:sp>
    </p:spTree>
    <p:extLst>
      <p:ext uri="{BB962C8B-B14F-4D97-AF65-F5344CB8AC3E}">
        <p14:creationId xmlns:p14="http://schemas.microsoft.com/office/powerpoint/2010/main" val="2266427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A5CF3292-9086-6AB2-3FF4-49532214A293}"/>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PE"/>
          </a:p>
        </p:txBody>
      </p:sp>
      <p:sp>
        <p:nvSpPr>
          <p:cNvPr id="3" name="Marcador de texto vertical 2">
            <a:extLst>
              <a:ext uri="{FF2B5EF4-FFF2-40B4-BE49-F238E27FC236}">
                <a16:creationId xmlns:a16="http://schemas.microsoft.com/office/drawing/2014/main" id="{A01395FE-2F7E-93A0-DF7F-7F9BA02EB0D0}"/>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fecha 3">
            <a:extLst>
              <a:ext uri="{FF2B5EF4-FFF2-40B4-BE49-F238E27FC236}">
                <a16:creationId xmlns:a16="http://schemas.microsoft.com/office/drawing/2014/main" id="{E5FDBB56-7A39-8B84-2FAE-E6442971428E}"/>
              </a:ext>
            </a:extLst>
          </p:cNvPr>
          <p:cNvSpPr>
            <a:spLocks noGrp="1"/>
          </p:cNvSpPr>
          <p:nvPr>
            <p:ph type="dt" sz="half" idx="10"/>
          </p:nvPr>
        </p:nvSpPr>
        <p:spPr/>
        <p:txBody>
          <a:bodyPr/>
          <a:lstStyle/>
          <a:p>
            <a:fld id="{B6144E57-838B-45CF-8AC9-9CC4293E450F}" type="datetimeFigureOut">
              <a:rPr lang="es-PE" smtClean="0"/>
              <a:t>17/09/2025</a:t>
            </a:fld>
            <a:endParaRPr lang="es-PE"/>
          </a:p>
        </p:txBody>
      </p:sp>
      <p:sp>
        <p:nvSpPr>
          <p:cNvPr id="5" name="Marcador de pie de página 4">
            <a:extLst>
              <a:ext uri="{FF2B5EF4-FFF2-40B4-BE49-F238E27FC236}">
                <a16:creationId xmlns:a16="http://schemas.microsoft.com/office/drawing/2014/main" id="{1338DE78-80AB-776F-228B-52F270E3D92D}"/>
              </a:ext>
            </a:extLst>
          </p:cNvPr>
          <p:cNvSpPr>
            <a:spLocks noGrp="1"/>
          </p:cNvSpPr>
          <p:nvPr>
            <p:ph type="ftr" sz="quarter" idx="11"/>
          </p:nvPr>
        </p:nvSpPr>
        <p:spPr/>
        <p:txBody>
          <a:bodyPr/>
          <a:lstStyle/>
          <a:p>
            <a:endParaRPr lang="es-PE"/>
          </a:p>
        </p:txBody>
      </p:sp>
      <p:sp>
        <p:nvSpPr>
          <p:cNvPr id="6" name="Marcador de número de diapositiva 5">
            <a:extLst>
              <a:ext uri="{FF2B5EF4-FFF2-40B4-BE49-F238E27FC236}">
                <a16:creationId xmlns:a16="http://schemas.microsoft.com/office/drawing/2014/main" id="{71E6D8E1-21D5-69B2-0681-40BD9F0F00B2}"/>
              </a:ext>
            </a:extLst>
          </p:cNvPr>
          <p:cNvSpPr>
            <a:spLocks noGrp="1"/>
          </p:cNvSpPr>
          <p:nvPr>
            <p:ph type="sldNum" sz="quarter" idx="12"/>
          </p:nvPr>
        </p:nvSpPr>
        <p:spPr/>
        <p:txBody>
          <a:bodyPr/>
          <a:lstStyle/>
          <a:p>
            <a:fld id="{97A5CCFA-0EC6-46B4-AA2D-F35516E6938C}" type="slidenum">
              <a:rPr lang="es-PE" smtClean="0"/>
              <a:t>‹Nº›</a:t>
            </a:fld>
            <a:endParaRPr lang="es-PE"/>
          </a:p>
        </p:txBody>
      </p:sp>
    </p:spTree>
    <p:extLst>
      <p:ext uri="{BB962C8B-B14F-4D97-AF65-F5344CB8AC3E}">
        <p14:creationId xmlns:p14="http://schemas.microsoft.com/office/powerpoint/2010/main" val="35422171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162014" y="234866"/>
            <a:ext cx="11725484" cy="5215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s-CO"/>
              <a:t>Click to edit Master title style</a:t>
            </a:r>
          </a:p>
        </p:txBody>
      </p:sp>
      <p:sp>
        <p:nvSpPr>
          <p:cNvPr id="6" name="Marcador de número de diapositiva 2">
            <a:extLst>
              <a:ext uri="{FF2B5EF4-FFF2-40B4-BE49-F238E27FC236}">
                <a16:creationId xmlns:a16="http://schemas.microsoft.com/office/drawing/2014/main" id="{B6DF8155-114C-4326-974F-142E1D4AB6E4}"/>
              </a:ext>
            </a:extLst>
          </p:cNvPr>
          <p:cNvSpPr>
            <a:spLocks noGrp="1"/>
          </p:cNvSpPr>
          <p:nvPr>
            <p:ph type="sldNum" sz="quarter" idx="10"/>
          </p:nvPr>
        </p:nvSpPr>
        <p:spPr>
          <a:xfrm>
            <a:off x="9378696" y="6501342"/>
            <a:ext cx="2743200" cy="366183"/>
          </a:xfrm>
          <a:prstGeom prst="rect">
            <a:avLst/>
          </a:prstGeom>
        </p:spPr>
        <p:txBody>
          <a:bodyPr/>
          <a:lstStyle>
            <a:lvl1pPr>
              <a:defRPr b="0"/>
            </a:lvl1pPr>
          </a:lstStyle>
          <a:p>
            <a:fld id="{45DED8D3-28D5-4566-860B-D1C2A9778790}" type="slidenum">
              <a:rPr lang="es-PE" smtClean="0"/>
              <a:pPr/>
              <a:t>‹Nº›</a:t>
            </a:fld>
            <a:endParaRPr lang="es-PE"/>
          </a:p>
        </p:txBody>
      </p:sp>
      <p:cxnSp>
        <p:nvCxnSpPr>
          <p:cNvPr id="7" name="Conector recto 6">
            <a:extLst>
              <a:ext uri="{FF2B5EF4-FFF2-40B4-BE49-F238E27FC236}">
                <a16:creationId xmlns:a16="http://schemas.microsoft.com/office/drawing/2014/main" id="{20AAFA4E-3B5E-4C41-990A-50D9F972C57D}"/>
              </a:ext>
            </a:extLst>
          </p:cNvPr>
          <p:cNvCxnSpPr/>
          <p:nvPr userDrawn="1"/>
        </p:nvCxnSpPr>
        <p:spPr>
          <a:xfrm>
            <a:off x="11646285" y="6597352"/>
            <a:ext cx="0" cy="1920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15757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5F86698-5435-9710-2558-E5C2876F62F2}"/>
              </a:ext>
            </a:extLst>
          </p:cNvPr>
          <p:cNvSpPr>
            <a:spLocks noGrp="1"/>
          </p:cNvSpPr>
          <p:nvPr>
            <p:ph type="title"/>
          </p:nvPr>
        </p:nvSpPr>
        <p:spPr/>
        <p:txBody>
          <a:bodyPr/>
          <a:lstStyle/>
          <a:p>
            <a:r>
              <a:rPr lang="es-ES"/>
              <a:t>Haga clic para modificar el estilo de título del patrón</a:t>
            </a:r>
            <a:endParaRPr lang="es-PE"/>
          </a:p>
        </p:txBody>
      </p:sp>
      <p:sp>
        <p:nvSpPr>
          <p:cNvPr id="3" name="Marcador de contenido 2">
            <a:extLst>
              <a:ext uri="{FF2B5EF4-FFF2-40B4-BE49-F238E27FC236}">
                <a16:creationId xmlns:a16="http://schemas.microsoft.com/office/drawing/2014/main" id="{570D0444-C978-8862-DE4A-8C840537888A}"/>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fecha 3">
            <a:extLst>
              <a:ext uri="{FF2B5EF4-FFF2-40B4-BE49-F238E27FC236}">
                <a16:creationId xmlns:a16="http://schemas.microsoft.com/office/drawing/2014/main" id="{3A6DDB24-C76C-19BA-BF95-4A7E35E8FD66}"/>
              </a:ext>
            </a:extLst>
          </p:cNvPr>
          <p:cNvSpPr>
            <a:spLocks noGrp="1"/>
          </p:cNvSpPr>
          <p:nvPr>
            <p:ph type="dt" sz="half" idx="10"/>
          </p:nvPr>
        </p:nvSpPr>
        <p:spPr/>
        <p:txBody>
          <a:bodyPr/>
          <a:lstStyle/>
          <a:p>
            <a:fld id="{B6144E57-838B-45CF-8AC9-9CC4293E450F}" type="datetimeFigureOut">
              <a:rPr lang="es-PE" smtClean="0"/>
              <a:t>17/09/2025</a:t>
            </a:fld>
            <a:endParaRPr lang="es-PE"/>
          </a:p>
        </p:txBody>
      </p:sp>
      <p:sp>
        <p:nvSpPr>
          <p:cNvPr id="5" name="Marcador de pie de página 4">
            <a:extLst>
              <a:ext uri="{FF2B5EF4-FFF2-40B4-BE49-F238E27FC236}">
                <a16:creationId xmlns:a16="http://schemas.microsoft.com/office/drawing/2014/main" id="{5A15DD03-ED0F-8061-1AA1-F91EB46AF58C}"/>
              </a:ext>
            </a:extLst>
          </p:cNvPr>
          <p:cNvSpPr>
            <a:spLocks noGrp="1"/>
          </p:cNvSpPr>
          <p:nvPr>
            <p:ph type="ftr" sz="quarter" idx="11"/>
          </p:nvPr>
        </p:nvSpPr>
        <p:spPr/>
        <p:txBody>
          <a:bodyPr/>
          <a:lstStyle/>
          <a:p>
            <a:endParaRPr lang="es-PE"/>
          </a:p>
        </p:txBody>
      </p:sp>
      <p:sp>
        <p:nvSpPr>
          <p:cNvPr id="6" name="Marcador de número de diapositiva 5">
            <a:extLst>
              <a:ext uri="{FF2B5EF4-FFF2-40B4-BE49-F238E27FC236}">
                <a16:creationId xmlns:a16="http://schemas.microsoft.com/office/drawing/2014/main" id="{2490FDEB-EFDE-D1F7-E8D8-51D933F5F9DB}"/>
              </a:ext>
            </a:extLst>
          </p:cNvPr>
          <p:cNvSpPr>
            <a:spLocks noGrp="1"/>
          </p:cNvSpPr>
          <p:nvPr>
            <p:ph type="sldNum" sz="quarter" idx="12"/>
          </p:nvPr>
        </p:nvSpPr>
        <p:spPr/>
        <p:txBody>
          <a:bodyPr/>
          <a:lstStyle/>
          <a:p>
            <a:fld id="{97A5CCFA-0EC6-46B4-AA2D-F35516E6938C}" type="slidenum">
              <a:rPr lang="es-PE" smtClean="0"/>
              <a:t>‹Nº›</a:t>
            </a:fld>
            <a:endParaRPr lang="es-PE"/>
          </a:p>
        </p:txBody>
      </p:sp>
    </p:spTree>
    <p:extLst>
      <p:ext uri="{BB962C8B-B14F-4D97-AF65-F5344CB8AC3E}">
        <p14:creationId xmlns:p14="http://schemas.microsoft.com/office/powerpoint/2010/main" val="16670255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8594729-8A3A-368B-C8BC-9A4F04645582}"/>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PE"/>
          </a:p>
        </p:txBody>
      </p:sp>
      <p:sp>
        <p:nvSpPr>
          <p:cNvPr id="3" name="Marcador de texto 2">
            <a:extLst>
              <a:ext uri="{FF2B5EF4-FFF2-40B4-BE49-F238E27FC236}">
                <a16:creationId xmlns:a16="http://schemas.microsoft.com/office/drawing/2014/main" id="{8C0D18BA-B174-FFB9-2A21-1920E760DC3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D6E1E3B2-8262-9DA5-79A9-C72FD089B2E4}"/>
              </a:ext>
            </a:extLst>
          </p:cNvPr>
          <p:cNvSpPr>
            <a:spLocks noGrp="1"/>
          </p:cNvSpPr>
          <p:nvPr>
            <p:ph type="dt" sz="half" idx="10"/>
          </p:nvPr>
        </p:nvSpPr>
        <p:spPr/>
        <p:txBody>
          <a:bodyPr/>
          <a:lstStyle/>
          <a:p>
            <a:fld id="{B6144E57-838B-45CF-8AC9-9CC4293E450F}" type="datetimeFigureOut">
              <a:rPr lang="es-PE" smtClean="0"/>
              <a:t>17/09/2025</a:t>
            </a:fld>
            <a:endParaRPr lang="es-PE"/>
          </a:p>
        </p:txBody>
      </p:sp>
      <p:sp>
        <p:nvSpPr>
          <p:cNvPr id="5" name="Marcador de pie de página 4">
            <a:extLst>
              <a:ext uri="{FF2B5EF4-FFF2-40B4-BE49-F238E27FC236}">
                <a16:creationId xmlns:a16="http://schemas.microsoft.com/office/drawing/2014/main" id="{86EB361F-F3DD-FC7C-5568-C678AB42DA25}"/>
              </a:ext>
            </a:extLst>
          </p:cNvPr>
          <p:cNvSpPr>
            <a:spLocks noGrp="1"/>
          </p:cNvSpPr>
          <p:nvPr>
            <p:ph type="ftr" sz="quarter" idx="11"/>
          </p:nvPr>
        </p:nvSpPr>
        <p:spPr/>
        <p:txBody>
          <a:bodyPr/>
          <a:lstStyle/>
          <a:p>
            <a:endParaRPr lang="es-PE"/>
          </a:p>
        </p:txBody>
      </p:sp>
      <p:sp>
        <p:nvSpPr>
          <p:cNvPr id="6" name="Marcador de número de diapositiva 5">
            <a:extLst>
              <a:ext uri="{FF2B5EF4-FFF2-40B4-BE49-F238E27FC236}">
                <a16:creationId xmlns:a16="http://schemas.microsoft.com/office/drawing/2014/main" id="{B5630693-6D3C-4E84-97E5-4532953967AA}"/>
              </a:ext>
            </a:extLst>
          </p:cNvPr>
          <p:cNvSpPr>
            <a:spLocks noGrp="1"/>
          </p:cNvSpPr>
          <p:nvPr>
            <p:ph type="sldNum" sz="quarter" idx="12"/>
          </p:nvPr>
        </p:nvSpPr>
        <p:spPr/>
        <p:txBody>
          <a:bodyPr/>
          <a:lstStyle/>
          <a:p>
            <a:fld id="{97A5CCFA-0EC6-46B4-AA2D-F35516E6938C}" type="slidenum">
              <a:rPr lang="es-PE" smtClean="0"/>
              <a:t>‹Nº›</a:t>
            </a:fld>
            <a:endParaRPr lang="es-PE"/>
          </a:p>
        </p:txBody>
      </p:sp>
    </p:spTree>
    <p:extLst>
      <p:ext uri="{BB962C8B-B14F-4D97-AF65-F5344CB8AC3E}">
        <p14:creationId xmlns:p14="http://schemas.microsoft.com/office/powerpoint/2010/main" val="35295713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EAA888F-0BEC-D0CB-8118-68C9E9236387}"/>
              </a:ext>
            </a:extLst>
          </p:cNvPr>
          <p:cNvSpPr>
            <a:spLocks noGrp="1"/>
          </p:cNvSpPr>
          <p:nvPr>
            <p:ph type="title"/>
          </p:nvPr>
        </p:nvSpPr>
        <p:spPr/>
        <p:txBody>
          <a:bodyPr/>
          <a:lstStyle/>
          <a:p>
            <a:r>
              <a:rPr lang="es-ES"/>
              <a:t>Haga clic para modificar el estilo de título del patrón</a:t>
            </a:r>
            <a:endParaRPr lang="es-PE"/>
          </a:p>
        </p:txBody>
      </p:sp>
      <p:sp>
        <p:nvSpPr>
          <p:cNvPr id="3" name="Marcador de contenido 2">
            <a:extLst>
              <a:ext uri="{FF2B5EF4-FFF2-40B4-BE49-F238E27FC236}">
                <a16:creationId xmlns:a16="http://schemas.microsoft.com/office/drawing/2014/main" id="{CBFB1E34-BAB5-6205-BEA6-BA3A720F0FC7}"/>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contenido 3">
            <a:extLst>
              <a:ext uri="{FF2B5EF4-FFF2-40B4-BE49-F238E27FC236}">
                <a16:creationId xmlns:a16="http://schemas.microsoft.com/office/drawing/2014/main" id="{FCC284ED-C46B-6E49-3475-9CA20C68A9B1}"/>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5" name="Marcador de fecha 4">
            <a:extLst>
              <a:ext uri="{FF2B5EF4-FFF2-40B4-BE49-F238E27FC236}">
                <a16:creationId xmlns:a16="http://schemas.microsoft.com/office/drawing/2014/main" id="{C36F52E8-12C3-46C5-D1CB-29006A5D9FD8}"/>
              </a:ext>
            </a:extLst>
          </p:cNvPr>
          <p:cNvSpPr>
            <a:spLocks noGrp="1"/>
          </p:cNvSpPr>
          <p:nvPr>
            <p:ph type="dt" sz="half" idx="10"/>
          </p:nvPr>
        </p:nvSpPr>
        <p:spPr/>
        <p:txBody>
          <a:bodyPr/>
          <a:lstStyle/>
          <a:p>
            <a:fld id="{B6144E57-838B-45CF-8AC9-9CC4293E450F}" type="datetimeFigureOut">
              <a:rPr lang="es-PE" smtClean="0"/>
              <a:t>17/09/2025</a:t>
            </a:fld>
            <a:endParaRPr lang="es-PE"/>
          </a:p>
        </p:txBody>
      </p:sp>
      <p:sp>
        <p:nvSpPr>
          <p:cNvPr id="6" name="Marcador de pie de página 5">
            <a:extLst>
              <a:ext uri="{FF2B5EF4-FFF2-40B4-BE49-F238E27FC236}">
                <a16:creationId xmlns:a16="http://schemas.microsoft.com/office/drawing/2014/main" id="{2C6AD844-4997-46B2-F340-A4CBB1A51033}"/>
              </a:ext>
            </a:extLst>
          </p:cNvPr>
          <p:cNvSpPr>
            <a:spLocks noGrp="1"/>
          </p:cNvSpPr>
          <p:nvPr>
            <p:ph type="ftr" sz="quarter" idx="11"/>
          </p:nvPr>
        </p:nvSpPr>
        <p:spPr/>
        <p:txBody>
          <a:bodyPr/>
          <a:lstStyle/>
          <a:p>
            <a:endParaRPr lang="es-PE"/>
          </a:p>
        </p:txBody>
      </p:sp>
      <p:sp>
        <p:nvSpPr>
          <p:cNvPr id="7" name="Marcador de número de diapositiva 6">
            <a:extLst>
              <a:ext uri="{FF2B5EF4-FFF2-40B4-BE49-F238E27FC236}">
                <a16:creationId xmlns:a16="http://schemas.microsoft.com/office/drawing/2014/main" id="{C7C1CB5B-A469-8678-F477-7430749868A8}"/>
              </a:ext>
            </a:extLst>
          </p:cNvPr>
          <p:cNvSpPr>
            <a:spLocks noGrp="1"/>
          </p:cNvSpPr>
          <p:nvPr>
            <p:ph type="sldNum" sz="quarter" idx="12"/>
          </p:nvPr>
        </p:nvSpPr>
        <p:spPr/>
        <p:txBody>
          <a:bodyPr/>
          <a:lstStyle/>
          <a:p>
            <a:fld id="{97A5CCFA-0EC6-46B4-AA2D-F35516E6938C}" type="slidenum">
              <a:rPr lang="es-PE" smtClean="0"/>
              <a:t>‹Nº›</a:t>
            </a:fld>
            <a:endParaRPr lang="es-PE"/>
          </a:p>
        </p:txBody>
      </p:sp>
    </p:spTree>
    <p:extLst>
      <p:ext uri="{BB962C8B-B14F-4D97-AF65-F5344CB8AC3E}">
        <p14:creationId xmlns:p14="http://schemas.microsoft.com/office/powerpoint/2010/main" val="1635903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C9F461B-2C15-AB98-5ABF-BD7F7D72B10A}"/>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PE"/>
          </a:p>
        </p:txBody>
      </p:sp>
      <p:sp>
        <p:nvSpPr>
          <p:cNvPr id="3" name="Marcador de texto 2">
            <a:extLst>
              <a:ext uri="{FF2B5EF4-FFF2-40B4-BE49-F238E27FC236}">
                <a16:creationId xmlns:a16="http://schemas.microsoft.com/office/drawing/2014/main" id="{D11A0F65-8404-4866-7F46-0ACE9F1A7D8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D0873809-BA5D-3EC3-6D53-BBB26AA8C1D8}"/>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5" name="Marcador de texto 4">
            <a:extLst>
              <a:ext uri="{FF2B5EF4-FFF2-40B4-BE49-F238E27FC236}">
                <a16:creationId xmlns:a16="http://schemas.microsoft.com/office/drawing/2014/main" id="{B8EC68FC-CCF2-2E44-0F5C-7D6A8EE333E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4FF19C9E-7F75-FE38-6C62-C27DC0107BAD}"/>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7" name="Marcador de fecha 6">
            <a:extLst>
              <a:ext uri="{FF2B5EF4-FFF2-40B4-BE49-F238E27FC236}">
                <a16:creationId xmlns:a16="http://schemas.microsoft.com/office/drawing/2014/main" id="{20F81735-4F59-C29B-1A68-DD46D770B186}"/>
              </a:ext>
            </a:extLst>
          </p:cNvPr>
          <p:cNvSpPr>
            <a:spLocks noGrp="1"/>
          </p:cNvSpPr>
          <p:nvPr>
            <p:ph type="dt" sz="half" idx="10"/>
          </p:nvPr>
        </p:nvSpPr>
        <p:spPr/>
        <p:txBody>
          <a:bodyPr/>
          <a:lstStyle/>
          <a:p>
            <a:fld id="{B6144E57-838B-45CF-8AC9-9CC4293E450F}" type="datetimeFigureOut">
              <a:rPr lang="es-PE" smtClean="0"/>
              <a:t>17/09/2025</a:t>
            </a:fld>
            <a:endParaRPr lang="es-PE"/>
          </a:p>
        </p:txBody>
      </p:sp>
      <p:sp>
        <p:nvSpPr>
          <p:cNvPr id="8" name="Marcador de pie de página 7">
            <a:extLst>
              <a:ext uri="{FF2B5EF4-FFF2-40B4-BE49-F238E27FC236}">
                <a16:creationId xmlns:a16="http://schemas.microsoft.com/office/drawing/2014/main" id="{0E6E3E73-5657-A96F-A063-1995E547EFBA}"/>
              </a:ext>
            </a:extLst>
          </p:cNvPr>
          <p:cNvSpPr>
            <a:spLocks noGrp="1"/>
          </p:cNvSpPr>
          <p:nvPr>
            <p:ph type="ftr" sz="quarter" idx="11"/>
          </p:nvPr>
        </p:nvSpPr>
        <p:spPr/>
        <p:txBody>
          <a:bodyPr/>
          <a:lstStyle/>
          <a:p>
            <a:endParaRPr lang="es-PE"/>
          </a:p>
        </p:txBody>
      </p:sp>
      <p:sp>
        <p:nvSpPr>
          <p:cNvPr id="9" name="Marcador de número de diapositiva 8">
            <a:extLst>
              <a:ext uri="{FF2B5EF4-FFF2-40B4-BE49-F238E27FC236}">
                <a16:creationId xmlns:a16="http://schemas.microsoft.com/office/drawing/2014/main" id="{1CF98334-80A3-5B53-315E-6A67F730532B}"/>
              </a:ext>
            </a:extLst>
          </p:cNvPr>
          <p:cNvSpPr>
            <a:spLocks noGrp="1"/>
          </p:cNvSpPr>
          <p:nvPr>
            <p:ph type="sldNum" sz="quarter" idx="12"/>
          </p:nvPr>
        </p:nvSpPr>
        <p:spPr/>
        <p:txBody>
          <a:bodyPr/>
          <a:lstStyle/>
          <a:p>
            <a:fld id="{97A5CCFA-0EC6-46B4-AA2D-F35516E6938C}" type="slidenum">
              <a:rPr lang="es-PE" smtClean="0"/>
              <a:t>‹Nº›</a:t>
            </a:fld>
            <a:endParaRPr lang="es-PE"/>
          </a:p>
        </p:txBody>
      </p:sp>
    </p:spTree>
    <p:extLst>
      <p:ext uri="{BB962C8B-B14F-4D97-AF65-F5344CB8AC3E}">
        <p14:creationId xmlns:p14="http://schemas.microsoft.com/office/powerpoint/2010/main" val="12308080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7C78793-A4F9-A253-3DB0-BBE1C98879A8}"/>
              </a:ext>
            </a:extLst>
          </p:cNvPr>
          <p:cNvSpPr>
            <a:spLocks noGrp="1"/>
          </p:cNvSpPr>
          <p:nvPr>
            <p:ph type="title"/>
          </p:nvPr>
        </p:nvSpPr>
        <p:spPr/>
        <p:txBody>
          <a:bodyPr/>
          <a:lstStyle/>
          <a:p>
            <a:r>
              <a:rPr lang="es-ES"/>
              <a:t>Haga clic para modificar el estilo de título del patrón</a:t>
            </a:r>
            <a:endParaRPr lang="es-PE"/>
          </a:p>
        </p:txBody>
      </p:sp>
      <p:sp>
        <p:nvSpPr>
          <p:cNvPr id="3" name="Marcador de fecha 2">
            <a:extLst>
              <a:ext uri="{FF2B5EF4-FFF2-40B4-BE49-F238E27FC236}">
                <a16:creationId xmlns:a16="http://schemas.microsoft.com/office/drawing/2014/main" id="{EC5FDE36-E6AC-4E46-2E22-A82DDBBDD376}"/>
              </a:ext>
            </a:extLst>
          </p:cNvPr>
          <p:cNvSpPr>
            <a:spLocks noGrp="1"/>
          </p:cNvSpPr>
          <p:nvPr>
            <p:ph type="dt" sz="half" idx="10"/>
          </p:nvPr>
        </p:nvSpPr>
        <p:spPr/>
        <p:txBody>
          <a:bodyPr/>
          <a:lstStyle/>
          <a:p>
            <a:fld id="{B6144E57-838B-45CF-8AC9-9CC4293E450F}" type="datetimeFigureOut">
              <a:rPr lang="es-PE" smtClean="0"/>
              <a:t>17/09/2025</a:t>
            </a:fld>
            <a:endParaRPr lang="es-PE"/>
          </a:p>
        </p:txBody>
      </p:sp>
      <p:sp>
        <p:nvSpPr>
          <p:cNvPr id="4" name="Marcador de pie de página 3">
            <a:extLst>
              <a:ext uri="{FF2B5EF4-FFF2-40B4-BE49-F238E27FC236}">
                <a16:creationId xmlns:a16="http://schemas.microsoft.com/office/drawing/2014/main" id="{7990B454-0F18-0F85-9D92-508A7777BD38}"/>
              </a:ext>
            </a:extLst>
          </p:cNvPr>
          <p:cNvSpPr>
            <a:spLocks noGrp="1"/>
          </p:cNvSpPr>
          <p:nvPr>
            <p:ph type="ftr" sz="quarter" idx="11"/>
          </p:nvPr>
        </p:nvSpPr>
        <p:spPr/>
        <p:txBody>
          <a:bodyPr/>
          <a:lstStyle/>
          <a:p>
            <a:endParaRPr lang="es-PE"/>
          </a:p>
        </p:txBody>
      </p:sp>
      <p:sp>
        <p:nvSpPr>
          <p:cNvPr id="5" name="Marcador de número de diapositiva 4">
            <a:extLst>
              <a:ext uri="{FF2B5EF4-FFF2-40B4-BE49-F238E27FC236}">
                <a16:creationId xmlns:a16="http://schemas.microsoft.com/office/drawing/2014/main" id="{FF9C8289-1819-BA6E-E6D8-C472054E808D}"/>
              </a:ext>
            </a:extLst>
          </p:cNvPr>
          <p:cNvSpPr>
            <a:spLocks noGrp="1"/>
          </p:cNvSpPr>
          <p:nvPr>
            <p:ph type="sldNum" sz="quarter" idx="12"/>
          </p:nvPr>
        </p:nvSpPr>
        <p:spPr/>
        <p:txBody>
          <a:bodyPr/>
          <a:lstStyle/>
          <a:p>
            <a:fld id="{97A5CCFA-0EC6-46B4-AA2D-F35516E6938C}" type="slidenum">
              <a:rPr lang="es-PE" smtClean="0"/>
              <a:t>‹Nº›</a:t>
            </a:fld>
            <a:endParaRPr lang="es-PE"/>
          </a:p>
        </p:txBody>
      </p:sp>
    </p:spTree>
    <p:extLst>
      <p:ext uri="{BB962C8B-B14F-4D97-AF65-F5344CB8AC3E}">
        <p14:creationId xmlns:p14="http://schemas.microsoft.com/office/powerpoint/2010/main" val="36021820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3036CA72-6507-7165-6034-5491B6E4A978}"/>
              </a:ext>
            </a:extLst>
          </p:cNvPr>
          <p:cNvSpPr>
            <a:spLocks noGrp="1"/>
          </p:cNvSpPr>
          <p:nvPr>
            <p:ph type="dt" sz="half" idx="10"/>
          </p:nvPr>
        </p:nvSpPr>
        <p:spPr/>
        <p:txBody>
          <a:bodyPr/>
          <a:lstStyle/>
          <a:p>
            <a:fld id="{B6144E57-838B-45CF-8AC9-9CC4293E450F}" type="datetimeFigureOut">
              <a:rPr lang="es-PE" smtClean="0"/>
              <a:t>17/09/2025</a:t>
            </a:fld>
            <a:endParaRPr lang="es-PE"/>
          </a:p>
        </p:txBody>
      </p:sp>
      <p:sp>
        <p:nvSpPr>
          <p:cNvPr id="3" name="Marcador de pie de página 2">
            <a:extLst>
              <a:ext uri="{FF2B5EF4-FFF2-40B4-BE49-F238E27FC236}">
                <a16:creationId xmlns:a16="http://schemas.microsoft.com/office/drawing/2014/main" id="{EF5C3246-F02B-F966-0BDF-06E2D31F552D}"/>
              </a:ext>
            </a:extLst>
          </p:cNvPr>
          <p:cNvSpPr>
            <a:spLocks noGrp="1"/>
          </p:cNvSpPr>
          <p:nvPr>
            <p:ph type="ftr" sz="quarter" idx="11"/>
          </p:nvPr>
        </p:nvSpPr>
        <p:spPr/>
        <p:txBody>
          <a:bodyPr/>
          <a:lstStyle/>
          <a:p>
            <a:endParaRPr lang="es-PE"/>
          </a:p>
        </p:txBody>
      </p:sp>
      <p:sp>
        <p:nvSpPr>
          <p:cNvPr id="4" name="Marcador de número de diapositiva 3">
            <a:extLst>
              <a:ext uri="{FF2B5EF4-FFF2-40B4-BE49-F238E27FC236}">
                <a16:creationId xmlns:a16="http://schemas.microsoft.com/office/drawing/2014/main" id="{25BEA6FF-CEE8-E07C-B098-4171E8BDE9B3}"/>
              </a:ext>
            </a:extLst>
          </p:cNvPr>
          <p:cNvSpPr>
            <a:spLocks noGrp="1"/>
          </p:cNvSpPr>
          <p:nvPr>
            <p:ph type="sldNum" sz="quarter" idx="12"/>
          </p:nvPr>
        </p:nvSpPr>
        <p:spPr/>
        <p:txBody>
          <a:bodyPr/>
          <a:lstStyle/>
          <a:p>
            <a:fld id="{97A5CCFA-0EC6-46B4-AA2D-F35516E6938C}" type="slidenum">
              <a:rPr lang="es-PE" smtClean="0"/>
              <a:t>‹Nº›</a:t>
            </a:fld>
            <a:endParaRPr lang="es-PE"/>
          </a:p>
        </p:txBody>
      </p:sp>
    </p:spTree>
    <p:extLst>
      <p:ext uri="{BB962C8B-B14F-4D97-AF65-F5344CB8AC3E}">
        <p14:creationId xmlns:p14="http://schemas.microsoft.com/office/powerpoint/2010/main" val="33075422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BECDF4E-0B33-E49B-4DCB-7F056588DCE4}"/>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PE"/>
          </a:p>
        </p:txBody>
      </p:sp>
      <p:sp>
        <p:nvSpPr>
          <p:cNvPr id="3" name="Marcador de contenido 2">
            <a:extLst>
              <a:ext uri="{FF2B5EF4-FFF2-40B4-BE49-F238E27FC236}">
                <a16:creationId xmlns:a16="http://schemas.microsoft.com/office/drawing/2014/main" id="{CEC9A025-0B10-B03E-1860-FF5C3B322A9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texto 3">
            <a:extLst>
              <a:ext uri="{FF2B5EF4-FFF2-40B4-BE49-F238E27FC236}">
                <a16:creationId xmlns:a16="http://schemas.microsoft.com/office/drawing/2014/main" id="{37E314E3-FC0A-E94C-D7E3-31DD60FDB82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DC0664B5-B668-D8D4-9DFF-98335DDFEFDE}"/>
              </a:ext>
            </a:extLst>
          </p:cNvPr>
          <p:cNvSpPr>
            <a:spLocks noGrp="1"/>
          </p:cNvSpPr>
          <p:nvPr>
            <p:ph type="dt" sz="half" idx="10"/>
          </p:nvPr>
        </p:nvSpPr>
        <p:spPr/>
        <p:txBody>
          <a:bodyPr/>
          <a:lstStyle/>
          <a:p>
            <a:fld id="{B6144E57-838B-45CF-8AC9-9CC4293E450F}" type="datetimeFigureOut">
              <a:rPr lang="es-PE" smtClean="0"/>
              <a:t>17/09/2025</a:t>
            </a:fld>
            <a:endParaRPr lang="es-PE"/>
          </a:p>
        </p:txBody>
      </p:sp>
      <p:sp>
        <p:nvSpPr>
          <p:cNvPr id="6" name="Marcador de pie de página 5">
            <a:extLst>
              <a:ext uri="{FF2B5EF4-FFF2-40B4-BE49-F238E27FC236}">
                <a16:creationId xmlns:a16="http://schemas.microsoft.com/office/drawing/2014/main" id="{EAE2DAD2-E11B-A691-E4F4-AF517FE95678}"/>
              </a:ext>
            </a:extLst>
          </p:cNvPr>
          <p:cNvSpPr>
            <a:spLocks noGrp="1"/>
          </p:cNvSpPr>
          <p:nvPr>
            <p:ph type="ftr" sz="quarter" idx="11"/>
          </p:nvPr>
        </p:nvSpPr>
        <p:spPr/>
        <p:txBody>
          <a:bodyPr/>
          <a:lstStyle/>
          <a:p>
            <a:endParaRPr lang="es-PE"/>
          </a:p>
        </p:txBody>
      </p:sp>
      <p:sp>
        <p:nvSpPr>
          <p:cNvPr id="7" name="Marcador de número de diapositiva 6">
            <a:extLst>
              <a:ext uri="{FF2B5EF4-FFF2-40B4-BE49-F238E27FC236}">
                <a16:creationId xmlns:a16="http://schemas.microsoft.com/office/drawing/2014/main" id="{192E72AC-02FC-F946-8762-C8F64E73ECC7}"/>
              </a:ext>
            </a:extLst>
          </p:cNvPr>
          <p:cNvSpPr>
            <a:spLocks noGrp="1"/>
          </p:cNvSpPr>
          <p:nvPr>
            <p:ph type="sldNum" sz="quarter" idx="12"/>
          </p:nvPr>
        </p:nvSpPr>
        <p:spPr/>
        <p:txBody>
          <a:bodyPr/>
          <a:lstStyle/>
          <a:p>
            <a:fld id="{97A5CCFA-0EC6-46B4-AA2D-F35516E6938C}" type="slidenum">
              <a:rPr lang="es-PE" smtClean="0"/>
              <a:t>‹Nº›</a:t>
            </a:fld>
            <a:endParaRPr lang="es-PE"/>
          </a:p>
        </p:txBody>
      </p:sp>
    </p:spTree>
    <p:extLst>
      <p:ext uri="{BB962C8B-B14F-4D97-AF65-F5344CB8AC3E}">
        <p14:creationId xmlns:p14="http://schemas.microsoft.com/office/powerpoint/2010/main" val="5539576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19EED65-0B93-CE82-4CFC-67D02B2B1340}"/>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PE"/>
          </a:p>
        </p:txBody>
      </p:sp>
      <p:sp>
        <p:nvSpPr>
          <p:cNvPr id="3" name="Marcador de posición de imagen 2">
            <a:extLst>
              <a:ext uri="{FF2B5EF4-FFF2-40B4-BE49-F238E27FC236}">
                <a16:creationId xmlns:a16="http://schemas.microsoft.com/office/drawing/2014/main" id="{87E7CC82-7ACE-A187-AE57-4586AB4A9F8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PE"/>
          </a:p>
        </p:txBody>
      </p:sp>
      <p:sp>
        <p:nvSpPr>
          <p:cNvPr id="4" name="Marcador de texto 3">
            <a:extLst>
              <a:ext uri="{FF2B5EF4-FFF2-40B4-BE49-F238E27FC236}">
                <a16:creationId xmlns:a16="http://schemas.microsoft.com/office/drawing/2014/main" id="{3CED119B-FB12-77CE-DA13-4DB081A25D6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8DAF7BB2-725B-A7E3-D825-972A171B0E03}"/>
              </a:ext>
            </a:extLst>
          </p:cNvPr>
          <p:cNvSpPr>
            <a:spLocks noGrp="1"/>
          </p:cNvSpPr>
          <p:nvPr>
            <p:ph type="dt" sz="half" idx="10"/>
          </p:nvPr>
        </p:nvSpPr>
        <p:spPr/>
        <p:txBody>
          <a:bodyPr/>
          <a:lstStyle/>
          <a:p>
            <a:fld id="{B6144E57-838B-45CF-8AC9-9CC4293E450F}" type="datetimeFigureOut">
              <a:rPr lang="es-PE" smtClean="0"/>
              <a:t>17/09/2025</a:t>
            </a:fld>
            <a:endParaRPr lang="es-PE"/>
          </a:p>
        </p:txBody>
      </p:sp>
      <p:sp>
        <p:nvSpPr>
          <p:cNvPr id="6" name="Marcador de pie de página 5">
            <a:extLst>
              <a:ext uri="{FF2B5EF4-FFF2-40B4-BE49-F238E27FC236}">
                <a16:creationId xmlns:a16="http://schemas.microsoft.com/office/drawing/2014/main" id="{287A8128-99D8-DF8E-938F-47E17AFC8BBB}"/>
              </a:ext>
            </a:extLst>
          </p:cNvPr>
          <p:cNvSpPr>
            <a:spLocks noGrp="1"/>
          </p:cNvSpPr>
          <p:nvPr>
            <p:ph type="ftr" sz="quarter" idx="11"/>
          </p:nvPr>
        </p:nvSpPr>
        <p:spPr/>
        <p:txBody>
          <a:bodyPr/>
          <a:lstStyle/>
          <a:p>
            <a:endParaRPr lang="es-PE"/>
          </a:p>
        </p:txBody>
      </p:sp>
      <p:sp>
        <p:nvSpPr>
          <p:cNvPr id="7" name="Marcador de número de diapositiva 6">
            <a:extLst>
              <a:ext uri="{FF2B5EF4-FFF2-40B4-BE49-F238E27FC236}">
                <a16:creationId xmlns:a16="http://schemas.microsoft.com/office/drawing/2014/main" id="{CBFA626D-71C6-240A-E659-7C17807BC4E0}"/>
              </a:ext>
            </a:extLst>
          </p:cNvPr>
          <p:cNvSpPr>
            <a:spLocks noGrp="1"/>
          </p:cNvSpPr>
          <p:nvPr>
            <p:ph type="sldNum" sz="quarter" idx="12"/>
          </p:nvPr>
        </p:nvSpPr>
        <p:spPr/>
        <p:txBody>
          <a:bodyPr/>
          <a:lstStyle/>
          <a:p>
            <a:fld id="{97A5CCFA-0EC6-46B4-AA2D-F35516E6938C}" type="slidenum">
              <a:rPr lang="es-PE" smtClean="0"/>
              <a:t>‹Nº›</a:t>
            </a:fld>
            <a:endParaRPr lang="es-PE"/>
          </a:p>
        </p:txBody>
      </p:sp>
    </p:spTree>
    <p:extLst>
      <p:ext uri="{BB962C8B-B14F-4D97-AF65-F5344CB8AC3E}">
        <p14:creationId xmlns:p14="http://schemas.microsoft.com/office/powerpoint/2010/main" val="25957236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C038E8DD-62E9-82A6-0EAA-9327FACCE78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PE"/>
          </a:p>
        </p:txBody>
      </p:sp>
      <p:sp>
        <p:nvSpPr>
          <p:cNvPr id="3" name="Marcador de texto 2">
            <a:extLst>
              <a:ext uri="{FF2B5EF4-FFF2-40B4-BE49-F238E27FC236}">
                <a16:creationId xmlns:a16="http://schemas.microsoft.com/office/drawing/2014/main" id="{66F3C008-5C35-CF9B-EE00-ADF17155189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fecha 3">
            <a:extLst>
              <a:ext uri="{FF2B5EF4-FFF2-40B4-BE49-F238E27FC236}">
                <a16:creationId xmlns:a16="http://schemas.microsoft.com/office/drawing/2014/main" id="{C08FB91A-AE09-CC4E-3919-0560483D5F0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6144E57-838B-45CF-8AC9-9CC4293E450F}" type="datetimeFigureOut">
              <a:rPr lang="es-PE" smtClean="0"/>
              <a:t>17/09/2025</a:t>
            </a:fld>
            <a:endParaRPr lang="es-PE"/>
          </a:p>
        </p:txBody>
      </p:sp>
      <p:sp>
        <p:nvSpPr>
          <p:cNvPr id="5" name="Marcador de pie de página 4">
            <a:extLst>
              <a:ext uri="{FF2B5EF4-FFF2-40B4-BE49-F238E27FC236}">
                <a16:creationId xmlns:a16="http://schemas.microsoft.com/office/drawing/2014/main" id="{F4595B6D-3EA7-6D80-08D6-521A0979BE8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PE"/>
          </a:p>
        </p:txBody>
      </p:sp>
      <p:sp>
        <p:nvSpPr>
          <p:cNvPr id="6" name="Marcador de número de diapositiva 5">
            <a:extLst>
              <a:ext uri="{FF2B5EF4-FFF2-40B4-BE49-F238E27FC236}">
                <a16:creationId xmlns:a16="http://schemas.microsoft.com/office/drawing/2014/main" id="{4BC5CBD6-7CBA-635C-5CEF-B30811CBE73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7A5CCFA-0EC6-46B4-AA2D-F35516E6938C}" type="slidenum">
              <a:rPr lang="es-PE" smtClean="0"/>
              <a:t>‹Nº›</a:t>
            </a:fld>
            <a:endParaRPr lang="es-PE"/>
          </a:p>
        </p:txBody>
      </p:sp>
    </p:spTree>
    <p:extLst>
      <p:ext uri="{BB962C8B-B14F-4D97-AF65-F5344CB8AC3E}">
        <p14:creationId xmlns:p14="http://schemas.microsoft.com/office/powerpoint/2010/main" val="30965887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P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2.xml"/><Relationship Id="rId7" Type="http://schemas.openxmlformats.org/officeDocument/2006/relationships/image" Target="../media/image2.emf"/><Relationship Id="rId12" Type="http://schemas.openxmlformats.org/officeDocument/2006/relationships/image" Target="../media/image7.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1.bin"/><Relationship Id="rId11" Type="http://schemas.openxmlformats.org/officeDocument/2006/relationships/image" Target="../media/image6.png"/><Relationship Id="rId5" Type="http://schemas.openxmlformats.org/officeDocument/2006/relationships/image" Target="../media/image1.png"/><Relationship Id="rId10" Type="http://schemas.openxmlformats.org/officeDocument/2006/relationships/image" Target="../media/image5.png"/><Relationship Id="rId4" Type="http://schemas.openxmlformats.org/officeDocument/2006/relationships/notesSlide" Target="../notesSlides/notesSlide1.xml"/><Relationship Id="rId9"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image" Target="../media/image16.png"/><Relationship Id="rId3" Type="http://schemas.openxmlformats.org/officeDocument/2006/relationships/slideLayout" Target="../slideLayouts/slideLayout12.xml"/><Relationship Id="rId7" Type="http://schemas.openxmlformats.org/officeDocument/2006/relationships/image" Target="../media/image2.emf"/><Relationship Id="rId12" Type="http://schemas.openxmlformats.org/officeDocument/2006/relationships/image" Target="../media/image15.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oleObject" Target="../embeddings/oleObject1.bin"/><Relationship Id="rId11" Type="http://schemas.openxmlformats.org/officeDocument/2006/relationships/image" Target="../media/image14.png"/><Relationship Id="rId5" Type="http://schemas.openxmlformats.org/officeDocument/2006/relationships/image" Target="../media/image1.png"/><Relationship Id="rId10" Type="http://schemas.openxmlformats.org/officeDocument/2006/relationships/image" Target="../media/image13.png"/><Relationship Id="rId4" Type="http://schemas.openxmlformats.org/officeDocument/2006/relationships/notesSlide" Target="../notesSlides/notesSlide10.xml"/><Relationship Id="rId9" Type="http://schemas.openxmlformats.org/officeDocument/2006/relationships/image" Target="../media/image12.png"/></Relationships>
</file>

<file path=ppt/slides/_rels/slide1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2.xml"/><Relationship Id="rId7" Type="http://schemas.openxmlformats.org/officeDocument/2006/relationships/image" Target="../media/image2.emf"/><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oleObject" Target="../embeddings/oleObject1.bin"/><Relationship Id="rId5" Type="http://schemas.openxmlformats.org/officeDocument/2006/relationships/image" Target="../media/image1.png"/><Relationship Id="rId4" Type="http://schemas.openxmlformats.org/officeDocument/2006/relationships/notesSlide" Target="../notesSlides/notesSlide11.xml"/><Relationship Id="rId9"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Layout" Target="../slideLayouts/slideLayout12.xml"/><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2.xml"/><Relationship Id="rId7" Type="http://schemas.openxmlformats.org/officeDocument/2006/relationships/image" Target="../media/image2.emf"/><Relationship Id="rId12" Type="http://schemas.openxmlformats.org/officeDocument/2006/relationships/image" Target="../media/image7.jpe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oleObject" Target="../embeddings/oleObject1.bin"/><Relationship Id="rId11" Type="http://schemas.openxmlformats.org/officeDocument/2006/relationships/image" Target="../media/image6.png"/><Relationship Id="rId5" Type="http://schemas.openxmlformats.org/officeDocument/2006/relationships/image" Target="../media/image1.png"/><Relationship Id="rId10" Type="http://schemas.openxmlformats.org/officeDocument/2006/relationships/image" Target="../media/image5.png"/><Relationship Id="rId4" Type="http://schemas.openxmlformats.org/officeDocument/2006/relationships/notesSlide" Target="../notesSlides/notesSlide12.xml"/><Relationship Id="rId9" Type="http://schemas.openxmlformats.org/officeDocument/2006/relationships/image" Target="../media/image4.png"/></Relationships>
</file>

<file path=ppt/slides/_rels/slide14.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png"/><Relationship Id="rId7" Type="http://schemas.openxmlformats.org/officeDocument/2006/relationships/diagramQuickStyle" Target="../diagrams/quickStyle1.xml"/><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3.png"/><Relationship Id="rId9" Type="http://schemas.microsoft.com/office/2007/relationships/diagramDrawing" Target="../diagrams/drawing1.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png"/><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png"/></Relationships>
</file>

<file path=ppt/slides/_rels/slide16.xml.rels><?xml version="1.0" encoding="UTF-8" standalone="yes"?>
<Relationships xmlns="http://schemas.openxmlformats.org/package/2006/relationships"><Relationship Id="rId8" Type="http://schemas.openxmlformats.org/officeDocument/2006/relationships/diagramColors" Target="../diagrams/colors2.xml"/><Relationship Id="rId13" Type="http://schemas.openxmlformats.org/officeDocument/2006/relationships/diagramColors" Target="../diagrams/colors3.xml"/><Relationship Id="rId3" Type="http://schemas.openxmlformats.org/officeDocument/2006/relationships/image" Target="../media/image1.png"/><Relationship Id="rId7" Type="http://schemas.openxmlformats.org/officeDocument/2006/relationships/diagramQuickStyle" Target="../diagrams/quickStyle2.xml"/><Relationship Id="rId12" Type="http://schemas.openxmlformats.org/officeDocument/2006/relationships/diagramQuickStyle" Target="../diagrams/quickStyle3.xml"/><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diagramLayout" Target="../diagrams/layout2.xml"/><Relationship Id="rId11" Type="http://schemas.openxmlformats.org/officeDocument/2006/relationships/diagramLayout" Target="../diagrams/layout3.xml"/><Relationship Id="rId5" Type="http://schemas.openxmlformats.org/officeDocument/2006/relationships/diagramData" Target="../diagrams/data2.xml"/><Relationship Id="rId10" Type="http://schemas.openxmlformats.org/officeDocument/2006/relationships/diagramData" Target="../diagrams/data3.xml"/><Relationship Id="rId4" Type="http://schemas.openxmlformats.org/officeDocument/2006/relationships/image" Target="../media/image3.png"/><Relationship Id="rId9" Type="http://schemas.microsoft.com/office/2007/relationships/diagramDrawing" Target="../diagrams/drawing2.xml"/><Relationship Id="rId14" Type="http://schemas.microsoft.com/office/2007/relationships/diagramDrawing" Target="../diagrams/drawing3.xml"/></Relationships>
</file>

<file path=ppt/slides/_rels/slide17.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image" Target="../media/image1.png"/><Relationship Id="rId7" Type="http://schemas.openxmlformats.org/officeDocument/2006/relationships/diagramQuickStyle" Target="../diagrams/quickStyle4.xml"/><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diagramLayout" Target="../diagrams/layout4.xml"/><Relationship Id="rId5" Type="http://schemas.openxmlformats.org/officeDocument/2006/relationships/diagramData" Target="../diagrams/data4.xml"/><Relationship Id="rId10" Type="http://schemas.openxmlformats.org/officeDocument/2006/relationships/image" Target="../media/image21.png"/><Relationship Id="rId4" Type="http://schemas.openxmlformats.org/officeDocument/2006/relationships/image" Target="../media/image3.png"/><Relationship Id="rId9" Type="http://schemas.microsoft.com/office/2007/relationships/diagramDrawing" Target="../diagrams/drawing4.xml"/></Relationships>
</file>

<file path=ppt/slides/_rels/slide1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2.xml"/><Relationship Id="rId7" Type="http://schemas.openxmlformats.org/officeDocument/2006/relationships/image" Target="../media/image2.emf"/><Relationship Id="rId12" Type="http://schemas.openxmlformats.org/officeDocument/2006/relationships/image" Target="../media/image7.jpe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oleObject" Target="../embeddings/oleObject1.bin"/><Relationship Id="rId11" Type="http://schemas.openxmlformats.org/officeDocument/2006/relationships/image" Target="../media/image6.png"/><Relationship Id="rId5" Type="http://schemas.openxmlformats.org/officeDocument/2006/relationships/image" Target="../media/image1.png"/><Relationship Id="rId10" Type="http://schemas.openxmlformats.org/officeDocument/2006/relationships/image" Target="../media/image5.png"/><Relationship Id="rId4" Type="http://schemas.openxmlformats.org/officeDocument/2006/relationships/notesSlide" Target="../notesSlides/notesSlide16.xml"/><Relationship Id="rId9" Type="http://schemas.openxmlformats.org/officeDocument/2006/relationships/image" Target="../media/image4.png"/></Relationships>
</file>

<file path=ppt/slides/_rels/slide1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2.xml"/><Relationship Id="rId7" Type="http://schemas.openxmlformats.org/officeDocument/2006/relationships/image" Target="../media/image2.emf"/><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oleObject" Target="../embeddings/oleObject1.bin"/><Relationship Id="rId11" Type="http://schemas.openxmlformats.org/officeDocument/2006/relationships/image" Target="../media/image24.png"/><Relationship Id="rId5" Type="http://schemas.openxmlformats.org/officeDocument/2006/relationships/image" Target="../media/image1.png"/><Relationship Id="rId10" Type="http://schemas.openxmlformats.org/officeDocument/2006/relationships/image" Target="../media/image23.png"/><Relationship Id="rId4" Type="http://schemas.openxmlformats.org/officeDocument/2006/relationships/notesSlide" Target="../notesSlides/notesSlide17.xml"/><Relationship Id="rId9" Type="http://schemas.openxmlformats.org/officeDocument/2006/relationships/image" Target="../media/image22.png"/></Relationships>
</file>

<file path=ppt/slides/_rels/slide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2.xml"/><Relationship Id="rId7" Type="http://schemas.openxmlformats.org/officeDocument/2006/relationships/image" Target="../media/image1.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image" Target="../media/image1.png"/><Relationship Id="rId7" Type="http://schemas.openxmlformats.org/officeDocument/2006/relationships/diagramQuickStyle" Target="../diagrams/quickStyle5.xml"/><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diagramLayout" Target="../diagrams/layout5.xml"/><Relationship Id="rId5" Type="http://schemas.openxmlformats.org/officeDocument/2006/relationships/diagramData" Target="../diagrams/data5.xml"/><Relationship Id="rId4" Type="http://schemas.openxmlformats.org/officeDocument/2006/relationships/image" Target="../media/image3.png"/><Relationship Id="rId9" Type="http://schemas.microsoft.com/office/2007/relationships/diagramDrawing" Target="../diagrams/drawing5.xml"/></Relationships>
</file>

<file path=ppt/slides/_rels/slide21.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image" Target="../media/image1.png"/><Relationship Id="rId7" Type="http://schemas.openxmlformats.org/officeDocument/2006/relationships/diagramQuickStyle" Target="../diagrams/quickStyle6.xml"/><Relationship Id="rId2" Type="http://schemas.openxmlformats.org/officeDocument/2006/relationships/notesSlide" Target="../notesSlides/notesSlide19.xml"/><Relationship Id="rId1" Type="http://schemas.openxmlformats.org/officeDocument/2006/relationships/slideLayout" Target="../slideLayouts/slideLayout12.xml"/><Relationship Id="rId6" Type="http://schemas.openxmlformats.org/officeDocument/2006/relationships/diagramLayout" Target="../diagrams/layout6.xml"/><Relationship Id="rId5" Type="http://schemas.openxmlformats.org/officeDocument/2006/relationships/diagramData" Target="../diagrams/data6.xml"/><Relationship Id="rId4" Type="http://schemas.openxmlformats.org/officeDocument/2006/relationships/image" Target="../media/image3.png"/><Relationship Id="rId9" Type="http://schemas.microsoft.com/office/2007/relationships/diagramDrawing" Target="../diagrams/drawing6.xml"/></Relationships>
</file>

<file path=ppt/slides/_rels/slide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Layout" Target="../slideLayouts/slideLayout12.xml"/><Relationship Id="rId5" Type="http://schemas.openxmlformats.org/officeDocument/2006/relationships/image" Target="../media/image26.png"/><Relationship Id="rId4" Type="http://schemas.openxmlformats.org/officeDocument/2006/relationships/image" Target="../media/image25.png"/></Relationships>
</file>

<file path=ppt/slides/_rels/slide2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2.xml"/><Relationship Id="rId7" Type="http://schemas.openxmlformats.org/officeDocument/2006/relationships/image" Target="../media/image1.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notesSlide" Target="../notesSlides/notesSlide20.xml"/></Relationships>
</file>

<file path=ppt/slides/_rels/slide2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2.xml"/><Relationship Id="rId7" Type="http://schemas.openxmlformats.org/officeDocument/2006/relationships/image" Target="../media/image2.emf"/><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oleObject" Target="../embeddings/oleObject1.bin"/><Relationship Id="rId5" Type="http://schemas.openxmlformats.org/officeDocument/2006/relationships/image" Target="../media/image1.png"/><Relationship Id="rId4" Type="http://schemas.openxmlformats.org/officeDocument/2006/relationships/notesSlide" Target="../notesSlides/notesSlide21.xml"/></Relationships>
</file>

<file path=ppt/slides/_rels/slide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2.xml"/><Relationship Id="rId7" Type="http://schemas.openxmlformats.org/officeDocument/2006/relationships/image" Target="../media/image1.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2.xml"/><Relationship Id="rId7" Type="http://schemas.openxmlformats.org/officeDocument/2006/relationships/image" Target="../media/image1.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2.xml"/><Relationship Id="rId7" Type="http://schemas.openxmlformats.org/officeDocument/2006/relationships/image" Target="../media/image2.emf"/><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1.bin"/><Relationship Id="rId5" Type="http://schemas.openxmlformats.org/officeDocument/2006/relationships/image" Target="../media/image1.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2.xml"/><Relationship Id="rId7" Type="http://schemas.openxmlformats.org/officeDocument/2006/relationships/image" Target="../media/image2.emf"/><Relationship Id="rId12" Type="http://schemas.openxmlformats.org/officeDocument/2006/relationships/image" Target="../media/image7.jpe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1.bin"/><Relationship Id="rId11" Type="http://schemas.openxmlformats.org/officeDocument/2006/relationships/image" Target="../media/image6.png"/><Relationship Id="rId5" Type="http://schemas.openxmlformats.org/officeDocument/2006/relationships/image" Target="../media/image1.png"/><Relationship Id="rId10" Type="http://schemas.openxmlformats.org/officeDocument/2006/relationships/image" Target="../media/image5.png"/><Relationship Id="rId4" Type="http://schemas.openxmlformats.org/officeDocument/2006/relationships/notesSlide" Target="../notesSlides/notesSlide6.xml"/><Relationship Id="rId9" Type="http://schemas.openxmlformats.org/officeDocument/2006/relationships/image" Target="../media/image4.png"/></Relationships>
</file>

<file path=ppt/slides/_rels/slide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2.xml"/><Relationship Id="rId7" Type="http://schemas.openxmlformats.org/officeDocument/2006/relationships/image" Target="../media/image2.emf"/><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oleObject" Target="../embeddings/oleObject1.bin"/><Relationship Id="rId5" Type="http://schemas.openxmlformats.org/officeDocument/2006/relationships/image" Target="../media/image1.png"/><Relationship Id="rId4" Type="http://schemas.openxmlformats.org/officeDocument/2006/relationships/notesSlide" Target="../notesSlides/notesSlide7.xml"/><Relationship Id="rId9" Type="http://schemas.openxmlformats.org/officeDocument/2006/relationships/hyperlink" Target="file:///C:\Users\kchavez\OneDrive%20-%20BDO%20Per&#250;\98.%202024%20-%20MINSUR%20%5bDemocratizaci&#243;n%20y%20Cat&#225;logo%5d\1.%20Inicio\KO\One%20Page%20-%20Acta%20de%20Constituci&#243;n%20-%20BI%20Costos.pptx"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2.xml"/><Relationship Id="rId7" Type="http://schemas.openxmlformats.org/officeDocument/2006/relationships/image" Target="../media/image2.emf"/><Relationship Id="rId12" Type="http://schemas.openxmlformats.org/officeDocument/2006/relationships/image" Target="../media/image7.jpe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1.bin"/><Relationship Id="rId11" Type="http://schemas.openxmlformats.org/officeDocument/2006/relationships/image" Target="../media/image6.png"/><Relationship Id="rId5" Type="http://schemas.openxmlformats.org/officeDocument/2006/relationships/image" Target="../media/image1.png"/><Relationship Id="rId10" Type="http://schemas.openxmlformats.org/officeDocument/2006/relationships/image" Target="../media/image5.png"/><Relationship Id="rId4" Type="http://schemas.openxmlformats.org/officeDocument/2006/relationships/notesSlide" Target="../notesSlides/notesSlide8.xml"/><Relationship Id="rId9" Type="http://schemas.openxmlformats.org/officeDocument/2006/relationships/image" Target="../media/image4.png"/></Relationships>
</file>

<file path=ppt/slides/_rels/slide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2.xml"/><Relationship Id="rId7" Type="http://schemas.openxmlformats.org/officeDocument/2006/relationships/image" Target="../media/image9.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11" Type="http://schemas.openxmlformats.org/officeDocument/2006/relationships/image" Target="../media/image11.png"/><Relationship Id="rId5" Type="http://schemas.openxmlformats.org/officeDocument/2006/relationships/image" Target="../media/image1.png"/><Relationship Id="rId10" Type="http://schemas.openxmlformats.org/officeDocument/2006/relationships/image" Target="../media/image2.emf"/><Relationship Id="rId4" Type="http://schemas.openxmlformats.org/officeDocument/2006/relationships/notesSlide" Target="../notesSlides/notesSlide9.xml"/><Relationship Id="rId9"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descr="Imagen que contiene Logotipo&#10;&#10;Descripción generada automáticamente">
            <a:extLst>
              <a:ext uri="{FF2B5EF4-FFF2-40B4-BE49-F238E27FC236}">
                <a16:creationId xmlns:a16="http://schemas.microsoft.com/office/drawing/2014/main" id="{142697A6-E462-2912-B0B9-7AD93495EC5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0800000">
            <a:off x="5081070" y="5797825"/>
            <a:ext cx="7110930" cy="1060175"/>
          </a:xfrm>
          <a:prstGeom prst="rect">
            <a:avLst/>
          </a:prstGeom>
        </p:spPr>
      </p:pic>
      <p:graphicFrame>
        <p:nvGraphicFramePr>
          <p:cNvPr id="3" name="Objeto 2" hidden="1">
            <a:extLst>
              <a:ext uri="{FF2B5EF4-FFF2-40B4-BE49-F238E27FC236}">
                <a16:creationId xmlns:a16="http://schemas.microsoft.com/office/drawing/2014/main" id="{662185DF-7C43-4818-980E-8591633A15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3" name="Objeto 2" hidden="1">
                        <a:extLst>
                          <a:ext uri="{FF2B5EF4-FFF2-40B4-BE49-F238E27FC236}">
                            <a16:creationId xmlns:a16="http://schemas.microsoft.com/office/drawing/2014/main" id="{662185DF-7C43-4818-980E-8591633A15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98042880-BDA9-43DD-8C8D-77AE28A8BFA8}"/>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2800" b="1" i="0" u="none" strike="noStrike" kern="1200" cap="none" spc="0" normalizeH="0" baseline="0" noProof="0">
              <a:ln>
                <a:noFill/>
              </a:ln>
              <a:solidFill>
                <a:prstClr val="black"/>
              </a:solidFill>
              <a:effectLst/>
              <a:uLnTx/>
              <a:uFillTx/>
              <a:latin typeface="Calibri" panose="020F0502020204030204" pitchFamily="34" charset="0"/>
              <a:ea typeface="+mn-ea"/>
              <a:cs typeface="+mn-cs"/>
              <a:sym typeface="Calibri" panose="020F0502020204030204" pitchFamily="34" charset="0"/>
            </a:endParaRPr>
          </a:p>
        </p:txBody>
      </p:sp>
      <p:pic>
        <p:nvPicPr>
          <p:cNvPr id="38" name="Imagen 37" descr="Imagen que contiene Logotipo&#10;&#10;Descripción generada automáticamente">
            <a:extLst>
              <a:ext uri="{FF2B5EF4-FFF2-40B4-BE49-F238E27FC236}">
                <a16:creationId xmlns:a16="http://schemas.microsoft.com/office/drawing/2014/main" id="{294B8260-9609-A349-BF29-344640D7CC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2"/>
            <a:ext cx="7110930" cy="1060175"/>
          </a:xfrm>
          <a:prstGeom prst="rect">
            <a:avLst/>
          </a:prstGeom>
        </p:spPr>
      </p:pic>
      <p:pic>
        <p:nvPicPr>
          <p:cNvPr id="6" name="Imagen 5" descr="Logotipo&#10;&#10;Descripción generada automáticamente">
            <a:extLst>
              <a:ext uri="{FF2B5EF4-FFF2-40B4-BE49-F238E27FC236}">
                <a16:creationId xmlns:a16="http://schemas.microsoft.com/office/drawing/2014/main" id="{6892CD4E-2C87-0B78-CFEC-BAC2F8583A0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29800" y="530086"/>
            <a:ext cx="1905000" cy="698500"/>
          </a:xfrm>
          <a:prstGeom prst="rect">
            <a:avLst/>
          </a:prstGeom>
        </p:spPr>
      </p:pic>
      <p:sp>
        <p:nvSpPr>
          <p:cNvPr id="2" name="Title 2">
            <a:extLst>
              <a:ext uri="{FF2B5EF4-FFF2-40B4-BE49-F238E27FC236}">
                <a16:creationId xmlns:a16="http://schemas.microsoft.com/office/drawing/2014/main" id="{65CAB2D6-AE29-9C87-9904-BAA63FD6A5B2}"/>
              </a:ext>
            </a:extLst>
          </p:cNvPr>
          <p:cNvSpPr>
            <a:spLocks noGrp="1"/>
          </p:cNvSpPr>
          <p:nvPr>
            <p:ph type="title"/>
          </p:nvPr>
        </p:nvSpPr>
        <p:spPr>
          <a:xfrm>
            <a:off x="1166026" y="2876614"/>
            <a:ext cx="7424334" cy="1327928"/>
          </a:xfrm>
        </p:spPr>
        <p:txBody>
          <a:bodyPr/>
          <a:lstStyle/>
          <a:p>
            <a:pPr>
              <a:lnSpc>
                <a:spcPts val="3500"/>
              </a:lnSpc>
              <a:spcBef>
                <a:spcPts val="0"/>
              </a:spcBef>
            </a:pPr>
            <a:br>
              <a:rPr lang="es-PE" sz="2800" dirty="0">
                <a:latin typeface="Source Sans Pro" panose="020B0503030403020204" pitchFamily="34" charset="0"/>
                <a:ea typeface="Source Sans Pro" panose="020B0503030403020204" pitchFamily="34" charset="0"/>
              </a:rPr>
            </a:br>
            <a:r>
              <a:rPr lang="es-MX" sz="2800" b="1" dirty="0">
                <a:solidFill>
                  <a:srgbClr val="3FA7A7"/>
                </a:solidFill>
                <a:latin typeface="Source Sans Pro"/>
                <a:ea typeface="Source Sans Pro"/>
                <a:cs typeface="Open Sans"/>
              </a:rPr>
              <a:t>LINEAMIENTOS PARA NUEVA ARQUITECTURA ANALÍTICA</a:t>
            </a:r>
            <a:endParaRPr lang="es-PE" sz="2000" dirty="0">
              <a:solidFill>
                <a:srgbClr val="3F3F3F"/>
              </a:solidFill>
              <a:latin typeface="Source Sans Pro"/>
              <a:ea typeface="Source Sans Pro"/>
            </a:endParaRPr>
          </a:p>
        </p:txBody>
      </p:sp>
      <p:cxnSp>
        <p:nvCxnSpPr>
          <p:cNvPr id="44" name="Straight Connector 43">
            <a:extLst>
              <a:ext uri="{FF2B5EF4-FFF2-40B4-BE49-F238E27FC236}">
                <a16:creationId xmlns:a16="http://schemas.microsoft.com/office/drawing/2014/main" id="{6F5C57EA-A0AC-C5BB-8AEF-48C9087B6234}"/>
              </a:ext>
            </a:extLst>
          </p:cNvPr>
          <p:cNvCxnSpPr>
            <a:cxnSpLocks/>
          </p:cNvCxnSpPr>
          <p:nvPr/>
        </p:nvCxnSpPr>
        <p:spPr>
          <a:xfrm>
            <a:off x="1183587" y="3173205"/>
            <a:ext cx="4785867" cy="0"/>
          </a:xfrm>
          <a:prstGeom prst="line">
            <a:avLst/>
          </a:prstGeom>
          <a:noFill/>
          <a:ln w="19050" cap="flat" cmpd="sng" algn="ctr">
            <a:solidFill>
              <a:schemeClr val="tx1">
                <a:lumMod val="50000"/>
                <a:lumOff val="50000"/>
              </a:schemeClr>
            </a:solidFill>
            <a:prstDash val="solid"/>
            <a:miter lim="800000"/>
            <a:headEnd type="oval"/>
            <a:tailEnd type="oval"/>
          </a:ln>
          <a:effectLst/>
        </p:spPr>
      </p:cxnSp>
      <p:pic>
        <p:nvPicPr>
          <p:cNvPr id="49" name="Picture 2" descr="Resultado de imagen para minsur">
            <a:extLst>
              <a:ext uri="{FF2B5EF4-FFF2-40B4-BE49-F238E27FC236}">
                <a16:creationId xmlns:a16="http://schemas.microsoft.com/office/drawing/2014/main" id="{C2040EE9-9FA2-8F66-B607-DA35E65A874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60047" y="1144115"/>
            <a:ext cx="1615333" cy="411933"/>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Servicios – Ensys">
            <a:extLst>
              <a:ext uri="{FF2B5EF4-FFF2-40B4-BE49-F238E27FC236}">
                <a16:creationId xmlns:a16="http://schemas.microsoft.com/office/drawing/2014/main" id="{A0332707-28A8-C3C0-15B9-31F31953CF6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551552" y="1137692"/>
            <a:ext cx="2203160" cy="424779"/>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Raura Compañía Minera">
            <a:extLst>
              <a:ext uri="{FF2B5EF4-FFF2-40B4-BE49-F238E27FC236}">
                <a16:creationId xmlns:a16="http://schemas.microsoft.com/office/drawing/2014/main" id="{B330A519-006A-F11C-8E87-8A41401036F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930884" y="1144115"/>
            <a:ext cx="395744" cy="41193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ompañía Minera Raura | LinkedIn">
            <a:extLst>
              <a:ext uri="{FF2B5EF4-FFF2-40B4-BE49-F238E27FC236}">
                <a16:creationId xmlns:a16="http://schemas.microsoft.com/office/drawing/2014/main" id="{229608C6-93CA-C9ED-D033-3C4CF6D7CC51}"/>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32938" t="40358" r="-774" b="38386"/>
          <a:stretch>
            <a:fillRect/>
          </a:stretch>
        </p:blipFill>
        <p:spPr bwMode="auto">
          <a:xfrm>
            <a:off x="5449861" y="1283331"/>
            <a:ext cx="1292277" cy="404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19658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58C238-366A-756B-0187-6601176CE6D7}"/>
            </a:ext>
          </a:extLst>
        </p:cNvPr>
        <p:cNvGrpSpPr/>
        <p:nvPr/>
      </p:nvGrpSpPr>
      <p:grpSpPr>
        <a:xfrm>
          <a:off x="0" y="0"/>
          <a:ext cx="0" cy="0"/>
          <a:chOff x="0" y="0"/>
          <a:chExt cx="0" cy="0"/>
        </a:xfrm>
      </p:grpSpPr>
      <p:pic>
        <p:nvPicPr>
          <p:cNvPr id="7" name="Imagen 6" descr="Imagen que contiene Logotipo&#10;&#10;Descripción generada automáticamente">
            <a:extLst>
              <a:ext uri="{FF2B5EF4-FFF2-40B4-BE49-F238E27FC236}">
                <a16:creationId xmlns:a16="http://schemas.microsoft.com/office/drawing/2014/main" id="{581DE01A-642B-54DF-7ADB-A732B328BA1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0800000">
            <a:off x="5081070" y="5797825"/>
            <a:ext cx="7110930" cy="1060175"/>
          </a:xfrm>
          <a:prstGeom prst="rect">
            <a:avLst/>
          </a:prstGeom>
        </p:spPr>
      </p:pic>
      <p:graphicFrame>
        <p:nvGraphicFramePr>
          <p:cNvPr id="3" name="Objeto 2" hidden="1">
            <a:extLst>
              <a:ext uri="{FF2B5EF4-FFF2-40B4-BE49-F238E27FC236}">
                <a16:creationId xmlns:a16="http://schemas.microsoft.com/office/drawing/2014/main" id="{A5CAA797-7200-66C0-5878-5C618E6DF0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3" name="Objeto 2" hidden="1">
                        <a:extLst>
                          <a:ext uri="{FF2B5EF4-FFF2-40B4-BE49-F238E27FC236}">
                            <a16:creationId xmlns:a16="http://schemas.microsoft.com/office/drawing/2014/main" id="{A5CAA797-7200-66C0-5878-5C618E6DF05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83CB86F6-73F7-6C30-3673-00EF4C9411D1}"/>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28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sym typeface="Calibri" panose="020F0502020204030204" pitchFamily="34" charset="0"/>
            </a:endParaRPr>
          </a:p>
        </p:txBody>
      </p:sp>
      <p:pic>
        <p:nvPicPr>
          <p:cNvPr id="38" name="Imagen 37" descr="Imagen que contiene Logotipo&#10;&#10;Descripción generada automáticamente">
            <a:extLst>
              <a:ext uri="{FF2B5EF4-FFF2-40B4-BE49-F238E27FC236}">
                <a16:creationId xmlns:a16="http://schemas.microsoft.com/office/drawing/2014/main" id="{B7703336-84FE-1DA0-FAAA-47F032449E2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7110930" cy="1060175"/>
          </a:xfrm>
          <a:prstGeom prst="rect">
            <a:avLst/>
          </a:prstGeom>
        </p:spPr>
      </p:pic>
      <p:pic>
        <p:nvPicPr>
          <p:cNvPr id="6" name="Imagen 5" descr="Logotipo&#10;&#10;Descripción generada automáticamente">
            <a:extLst>
              <a:ext uri="{FF2B5EF4-FFF2-40B4-BE49-F238E27FC236}">
                <a16:creationId xmlns:a16="http://schemas.microsoft.com/office/drawing/2014/main" id="{4360D14F-CABA-9C8C-11CF-CEEDEB80708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29800" y="530086"/>
            <a:ext cx="1905000" cy="698500"/>
          </a:xfrm>
          <a:prstGeom prst="rect">
            <a:avLst/>
          </a:prstGeom>
        </p:spPr>
      </p:pic>
      <p:sp>
        <p:nvSpPr>
          <p:cNvPr id="2" name="Title 2">
            <a:extLst>
              <a:ext uri="{FF2B5EF4-FFF2-40B4-BE49-F238E27FC236}">
                <a16:creationId xmlns:a16="http://schemas.microsoft.com/office/drawing/2014/main" id="{D9223590-AB08-E05E-9952-94D16FDF8EAC}"/>
              </a:ext>
            </a:extLst>
          </p:cNvPr>
          <p:cNvSpPr>
            <a:spLocks noGrp="1"/>
          </p:cNvSpPr>
          <p:nvPr>
            <p:ph type="title"/>
          </p:nvPr>
        </p:nvSpPr>
        <p:spPr>
          <a:xfrm>
            <a:off x="1207131" y="784046"/>
            <a:ext cx="6024244" cy="435586"/>
          </a:xfrm>
        </p:spPr>
        <p:txBody>
          <a:bodyPr anchor="ctr"/>
          <a:lstStyle/>
          <a:p>
            <a:pPr algn="ctr">
              <a:lnSpc>
                <a:spcPct val="100000"/>
              </a:lnSpc>
              <a:spcBef>
                <a:spcPts val="0"/>
              </a:spcBef>
            </a:pPr>
            <a:r>
              <a:rPr lang="es-PE" sz="3200" b="1" noProof="0" dirty="0">
                <a:solidFill>
                  <a:srgbClr val="3FA7A7"/>
                </a:solidFill>
                <a:latin typeface="Source Sans Pro" panose="020B0503030403020204" pitchFamily="34" charset="0"/>
                <a:ea typeface="Source Sans Pro" panose="020B0503030403020204" pitchFamily="34" charset="0"/>
                <a:cs typeface="Open Sans"/>
              </a:rPr>
              <a:t>Lineamientos Metada </a:t>
            </a:r>
            <a:r>
              <a:rPr lang="es-PE" sz="3200" b="1" noProof="0" dirty="0" err="1">
                <a:solidFill>
                  <a:srgbClr val="3FA7A7"/>
                </a:solidFill>
                <a:latin typeface="Source Sans Pro" panose="020B0503030403020204" pitchFamily="34" charset="0"/>
                <a:ea typeface="Source Sans Pro" panose="020B0503030403020204" pitchFamily="34" charset="0"/>
                <a:cs typeface="Open Sans"/>
              </a:rPr>
              <a:t>Driven</a:t>
            </a:r>
            <a:endParaRPr lang="es-PE" sz="3200" b="1" noProof="0" dirty="0">
              <a:solidFill>
                <a:srgbClr val="3FA7A7"/>
              </a:solidFill>
              <a:latin typeface="Source Sans Pro" panose="020B0503030403020204" pitchFamily="34" charset="0"/>
              <a:ea typeface="Source Sans Pro" panose="020B0503030403020204" pitchFamily="34" charset="0"/>
              <a:cs typeface="Open Sans"/>
            </a:endParaRPr>
          </a:p>
        </p:txBody>
      </p:sp>
      <p:sp>
        <p:nvSpPr>
          <p:cNvPr id="8" name="Rectángulo 7">
            <a:extLst>
              <a:ext uri="{FF2B5EF4-FFF2-40B4-BE49-F238E27FC236}">
                <a16:creationId xmlns:a16="http://schemas.microsoft.com/office/drawing/2014/main" id="{6436DBB1-61E8-6A41-A36F-170D1B3368E5}"/>
              </a:ext>
            </a:extLst>
          </p:cNvPr>
          <p:cNvSpPr/>
          <p:nvPr/>
        </p:nvSpPr>
        <p:spPr>
          <a:xfrm>
            <a:off x="1676688" y="1724997"/>
            <a:ext cx="3856453" cy="523221"/>
          </a:xfrm>
          <a:prstGeom prst="rect">
            <a:avLst/>
          </a:prstGeom>
          <a:solidFill>
            <a:srgbClr val="3FA7A7"/>
          </a:solidFill>
          <a:ln>
            <a:solidFill>
              <a:srgbClr val="3FA7A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b="1" noProof="0" dirty="0"/>
              <a:t>METADATA DRIVEN</a:t>
            </a:r>
          </a:p>
        </p:txBody>
      </p:sp>
      <p:sp>
        <p:nvSpPr>
          <p:cNvPr id="20" name="CuadroTexto 10">
            <a:extLst>
              <a:ext uri="{FF2B5EF4-FFF2-40B4-BE49-F238E27FC236}">
                <a16:creationId xmlns:a16="http://schemas.microsoft.com/office/drawing/2014/main" id="{B3104EDB-8CF6-9A18-03D8-7DBE915F3524}"/>
              </a:ext>
            </a:extLst>
          </p:cNvPr>
          <p:cNvSpPr txBox="1"/>
          <p:nvPr/>
        </p:nvSpPr>
        <p:spPr>
          <a:xfrm>
            <a:off x="1781129" y="2507143"/>
            <a:ext cx="4192218" cy="523220"/>
          </a:xfrm>
          <a:prstGeom prst="rect">
            <a:avLst/>
          </a:prstGeom>
          <a:noFill/>
          <a:ln>
            <a:noFill/>
          </a:ln>
        </p:spPr>
        <p:txBody>
          <a:bodyPr wrap="square" rtlCol="0">
            <a:spAutoFit/>
          </a:bodyPr>
          <a:lstStyle/>
          <a:p>
            <a:pPr>
              <a:buClr>
                <a:srgbClr val="ED1A3B"/>
              </a:buClr>
            </a:pPr>
            <a:r>
              <a:rPr lang="es-ES" sz="1400" dirty="0"/>
              <a:t>Toda </a:t>
            </a:r>
            <a:r>
              <a:rPr lang="es-ES" sz="1400" dirty="0" err="1"/>
              <a:t>metadata</a:t>
            </a:r>
            <a:r>
              <a:rPr lang="es-ES" sz="1400" dirty="0"/>
              <a:t> se debe registrar en las plantillas oficiales ubicadas en el </a:t>
            </a:r>
            <a:r>
              <a:rPr lang="es-ES" sz="1400" b="1" dirty="0">
                <a:solidFill>
                  <a:srgbClr val="FF0000"/>
                </a:solidFill>
              </a:rPr>
              <a:t>site de </a:t>
            </a:r>
            <a:r>
              <a:rPr lang="es-ES" sz="1400" b="1" dirty="0" err="1">
                <a:solidFill>
                  <a:srgbClr val="FF0000"/>
                </a:solidFill>
              </a:rPr>
              <a:t>Metadata</a:t>
            </a:r>
            <a:r>
              <a:rPr lang="es-ES" sz="1400" b="1" dirty="0">
                <a:solidFill>
                  <a:srgbClr val="FF0000"/>
                </a:solidFill>
              </a:rPr>
              <a:t> </a:t>
            </a:r>
            <a:r>
              <a:rPr lang="es-ES" sz="1400" b="1" dirty="0" err="1">
                <a:solidFill>
                  <a:srgbClr val="FF0000"/>
                </a:solidFill>
              </a:rPr>
              <a:t>Driven</a:t>
            </a:r>
            <a:r>
              <a:rPr lang="es-PE" sz="1400" noProof="0" dirty="0"/>
              <a:t>.</a:t>
            </a:r>
          </a:p>
        </p:txBody>
      </p:sp>
      <p:sp>
        <p:nvSpPr>
          <p:cNvPr id="23" name="CuadroTexto 10">
            <a:extLst>
              <a:ext uri="{FF2B5EF4-FFF2-40B4-BE49-F238E27FC236}">
                <a16:creationId xmlns:a16="http://schemas.microsoft.com/office/drawing/2014/main" id="{77C21CD5-72CD-6142-42EC-390CE1EDEECB}"/>
              </a:ext>
            </a:extLst>
          </p:cNvPr>
          <p:cNvSpPr txBox="1"/>
          <p:nvPr/>
        </p:nvSpPr>
        <p:spPr>
          <a:xfrm>
            <a:off x="1781128" y="3188194"/>
            <a:ext cx="4192218" cy="523220"/>
          </a:xfrm>
          <a:prstGeom prst="rect">
            <a:avLst/>
          </a:prstGeom>
          <a:noFill/>
          <a:ln>
            <a:noFill/>
          </a:ln>
        </p:spPr>
        <p:txBody>
          <a:bodyPr wrap="square" rtlCol="0">
            <a:spAutoFit/>
          </a:bodyPr>
          <a:lstStyle/>
          <a:p>
            <a:pPr>
              <a:buClr>
                <a:srgbClr val="ED1A3B"/>
              </a:buClr>
            </a:pPr>
            <a:r>
              <a:rPr lang="es-ES" sz="1400" dirty="0"/>
              <a:t>Todas las plantillas deben seguir la </a:t>
            </a:r>
            <a:r>
              <a:rPr lang="es-ES" sz="1400" b="1" dirty="0">
                <a:solidFill>
                  <a:srgbClr val="FF0000"/>
                </a:solidFill>
              </a:rPr>
              <a:t>misma estructura de campos </a:t>
            </a:r>
            <a:r>
              <a:rPr lang="es-ES" sz="1400" dirty="0"/>
              <a:t>definida en el procedimiento.</a:t>
            </a:r>
            <a:endParaRPr lang="es-PE" sz="1400" noProof="0" dirty="0"/>
          </a:p>
        </p:txBody>
      </p:sp>
      <p:sp>
        <p:nvSpPr>
          <p:cNvPr id="29" name="CuadroTexto 10">
            <a:extLst>
              <a:ext uri="{FF2B5EF4-FFF2-40B4-BE49-F238E27FC236}">
                <a16:creationId xmlns:a16="http://schemas.microsoft.com/office/drawing/2014/main" id="{3E419307-789A-A6FE-F485-3F75ABA921B9}"/>
              </a:ext>
            </a:extLst>
          </p:cNvPr>
          <p:cNvSpPr txBox="1"/>
          <p:nvPr/>
        </p:nvSpPr>
        <p:spPr>
          <a:xfrm>
            <a:off x="1781129" y="4047003"/>
            <a:ext cx="4192218" cy="523220"/>
          </a:xfrm>
          <a:prstGeom prst="rect">
            <a:avLst/>
          </a:prstGeom>
          <a:noFill/>
          <a:ln>
            <a:noFill/>
          </a:ln>
        </p:spPr>
        <p:txBody>
          <a:bodyPr wrap="square" rtlCol="0">
            <a:spAutoFit/>
          </a:bodyPr>
          <a:lstStyle/>
          <a:p>
            <a:pPr>
              <a:buClr>
                <a:srgbClr val="ED1A3B"/>
              </a:buClr>
            </a:pPr>
            <a:r>
              <a:rPr lang="es-ES" sz="1400" dirty="0"/>
              <a:t>Se deberán </a:t>
            </a:r>
            <a:r>
              <a:rPr lang="es-ES" sz="1400" b="1" dirty="0">
                <a:solidFill>
                  <a:srgbClr val="FF0000"/>
                </a:solidFill>
              </a:rPr>
              <a:t>crear plantillas </a:t>
            </a:r>
            <a:r>
              <a:rPr lang="es-ES" sz="1400" dirty="0"/>
              <a:t>específicas cuando se detecten </a:t>
            </a:r>
            <a:r>
              <a:rPr lang="es-ES" sz="1400" b="1" dirty="0">
                <a:solidFill>
                  <a:srgbClr val="FF0000"/>
                </a:solidFill>
              </a:rPr>
              <a:t>nuevas fuentes</a:t>
            </a:r>
            <a:r>
              <a:rPr lang="es-ES" sz="1400" dirty="0"/>
              <a:t>. </a:t>
            </a:r>
            <a:endParaRPr lang="es-PE" sz="1400" noProof="0" dirty="0"/>
          </a:p>
        </p:txBody>
      </p:sp>
      <p:sp>
        <p:nvSpPr>
          <p:cNvPr id="31" name="CuadroTexto 10">
            <a:extLst>
              <a:ext uri="{FF2B5EF4-FFF2-40B4-BE49-F238E27FC236}">
                <a16:creationId xmlns:a16="http://schemas.microsoft.com/office/drawing/2014/main" id="{1B0DB887-060A-67A5-27E4-F08B3A99D2B4}"/>
              </a:ext>
            </a:extLst>
          </p:cNvPr>
          <p:cNvSpPr txBox="1"/>
          <p:nvPr/>
        </p:nvSpPr>
        <p:spPr>
          <a:xfrm>
            <a:off x="1789116" y="4810514"/>
            <a:ext cx="4192218" cy="738664"/>
          </a:xfrm>
          <a:prstGeom prst="rect">
            <a:avLst/>
          </a:prstGeom>
          <a:noFill/>
          <a:ln>
            <a:noFill/>
          </a:ln>
        </p:spPr>
        <p:txBody>
          <a:bodyPr wrap="square" rtlCol="0">
            <a:spAutoFit/>
          </a:bodyPr>
          <a:lstStyle/>
          <a:p>
            <a:pPr>
              <a:buClr>
                <a:srgbClr val="ED1A3B"/>
              </a:buClr>
            </a:pPr>
            <a:r>
              <a:rPr lang="es-ES" sz="1400" dirty="0"/>
              <a:t>La única herramienta corporativa y oficial para procesar las plantillas de </a:t>
            </a:r>
            <a:r>
              <a:rPr lang="es-ES" sz="1400" dirty="0" err="1"/>
              <a:t>metadata</a:t>
            </a:r>
            <a:r>
              <a:rPr lang="es-ES" sz="1400" dirty="0"/>
              <a:t> </a:t>
            </a:r>
            <a:r>
              <a:rPr lang="es-ES" sz="1400" dirty="0" err="1"/>
              <a:t>driven</a:t>
            </a:r>
            <a:r>
              <a:rPr lang="es-ES" sz="1400" dirty="0"/>
              <a:t> es el </a:t>
            </a:r>
            <a:r>
              <a:rPr lang="es-ES" sz="1400" b="1" dirty="0">
                <a:solidFill>
                  <a:srgbClr val="FF0000"/>
                </a:solidFill>
              </a:rPr>
              <a:t>Azure Data Factory de Analítica</a:t>
            </a:r>
            <a:endParaRPr lang="es-PE" sz="1400" b="1" noProof="0" dirty="0">
              <a:solidFill>
                <a:srgbClr val="FF0000"/>
              </a:solidFill>
            </a:endParaRPr>
          </a:p>
        </p:txBody>
      </p:sp>
      <p:sp>
        <p:nvSpPr>
          <p:cNvPr id="32" name="CuadroTexto 10">
            <a:extLst>
              <a:ext uri="{FF2B5EF4-FFF2-40B4-BE49-F238E27FC236}">
                <a16:creationId xmlns:a16="http://schemas.microsoft.com/office/drawing/2014/main" id="{5FB2EBAE-9513-78F3-4356-A06045B5CE32}"/>
              </a:ext>
            </a:extLst>
          </p:cNvPr>
          <p:cNvSpPr txBox="1"/>
          <p:nvPr/>
        </p:nvSpPr>
        <p:spPr>
          <a:xfrm>
            <a:off x="1789564" y="5732322"/>
            <a:ext cx="4192218" cy="738664"/>
          </a:xfrm>
          <a:prstGeom prst="rect">
            <a:avLst/>
          </a:prstGeom>
          <a:noFill/>
          <a:ln>
            <a:noFill/>
          </a:ln>
        </p:spPr>
        <p:txBody>
          <a:bodyPr wrap="square" rtlCol="0">
            <a:spAutoFit/>
          </a:bodyPr>
          <a:lstStyle/>
          <a:p>
            <a:pPr>
              <a:buClr>
                <a:srgbClr val="ED1A3B"/>
              </a:buClr>
            </a:pPr>
            <a:r>
              <a:rPr lang="es-ES" sz="1400" dirty="0"/>
              <a:t>El </a:t>
            </a:r>
            <a:r>
              <a:rPr lang="es-ES" sz="1400" b="1" dirty="0">
                <a:solidFill>
                  <a:srgbClr val="FF0000"/>
                </a:solidFill>
              </a:rPr>
              <a:t>pipeline</a:t>
            </a:r>
            <a:r>
              <a:rPr lang="es-ES" sz="1400" dirty="0"/>
              <a:t> que ejecuta el </a:t>
            </a:r>
            <a:r>
              <a:rPr lang="es-ES" sz="1400" b="1" dirty="0">
                <a:solidFill>
                  <a:srgbClr val="FF0000"/>
                </a:solidFill>
              </a:rPr>
              <a:t>notebook</a:t>
            </a:r>
            <a:r>
              <a:rPr lang="es-ES" sz="1400" dirty="0"/>
              <a:t> que procesa las </a:t>
            </a:r>
            <a:r>
              <a:rPr lang="es-ES" sz="1400" b="1" dirty="0">
                <a:solidFill>
                  <a:srgbClr val="FF0000"/>
                </a:solidFill>
              </a:rPr>
              <a:t>plantillas de </a:t>
            </a:r>
            <a:r>
              <a:rPr lang="es-ES" sz="1400" b="1" dirty="0" err="1">
                <a:solidFill>
                  <a:srgbClr val="FF0000"/>
                </a:solidFill>
              </a:rPr>
              <a:t>metadata</a:t>
            </a:r>
            <a:r>
              <a:rPr lang="es-ES" sz="1400" b="1" dirty="0">
                <a:solidFill>
                  <a:srgbClr val="FF0000"/>
                </a:solidFill>
              </a:rPr>
              <a:t> </a:t>
            </a:r>
            <a:r>
              <a:rPr lang="es-ES" sz="1400" b="1" dirty="0" err="1">
                <a:solidFill>
                  <a:srgbClr val="FF0000"/>
                </a:solidFill>
              </a:rPr>
              <a:t>driven</a:t>
            </a:r>
            <a:r>
              <a:rPr lang="es-ES" sz="1400" b="1" dirty="0">
                <a:solidFill>
                  <a:srgbClr val="FF0000"/>
                </a:solidFill>
              </a:rPr>
              <a:t> </a:t>
            </a:r>
            <a:r>
              <a:rPr lang="es-ES" sz="1400" dirty="0"/>
              <a:t>del Azure Data Factory de Analítica se ejecuta </a:t>
            </a:r>
            <a:r>
              <a:rPr lang="es-ES" sz="1400" b="1" dirty="0">
                <a:solidFill>
                  <a:srgbClr val="FF0000"/>
                </a:solidFill>
              </a:rPr>
              <a:t>a demanda</a:t>
            </a:r>
            <a:r>
              <a:rPr lang="es-ES" sz="1400" dirty="0"/>
              <a:t>.</a:t>
            </a:r>
            <a:endParaRPr lang="es-PE" sz="1400" noProof="0" dirty="0"/>
          </a:p>
        </p:txBody>
      </p:sp>
      <p:grpSp>
        <p:nvGrpSpPr>
          <p:cNvPr id="45" name="Grupo 44">
            <a:extLst>
              <a:ext uri="{FF2B5EF4-FFF2-40B4-BE49-F238E27FC236}">
                <a16:creationId xmlns:a16="http://schemas.microsoft.com/office/drawing/2014/main" id="{9171F158-CD3A-1BF1-439E-613CDDE14B4D}"/>
              </a:ext>
            </a:extLst>
          </p:cNvPr>
          <p:cNvGrpSpPr/>
          <p:nvPr/>
        </p:nvGrpSpPr>
        <p:grpSpPr>
          <a:xfrm>
            <a:off x="172070" y="2434480"/>
            <a:ext cx="1609058" cy="4036506"/>
            <a:chOff x="4586179" y="2248712"/>
            <a:chExt cx="1609058" cy="4036506"/>
          </a:xfrm>
        </p:grpSpPr>
        <p:pic>
          <p:nvPicPr>
            <p:cNvPr id="34" name="Imagen 33">
              <a:extLst>
                <a:ext uri="{FF2B5EF4-FFF2-40B4-BE49-F238E27FC236}">
                  <a16:creationId xmlns:a16="http://schemas.microsoft.com/office/drawing/2014/main" id="{03F1B03D-4DFB-F015-3929-09162D21AE71}"/>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5065639" y="2248712"/>
              <a:ext cx="589459" cy="589459"/>
            </a:xfrm>
            <a:prstGeom prst="rect">
              <a:avLst/>
            </a:prstGeom>
          </p:spPr>
        </p:pic>
        <p:sp>
          <p:nvSpPr>
            <p:cNvPr id="35" name="CuadroTexto 10">
              <a:extLst>
                <a:ext uri="{FF2B5EF4-FFF2-40B4-BE49-F238E27FC236}">
                  <a16:creationId xmlns:a16="http://schemas.microsoft.com/office/drawing/2014/main" id="{B9D42B5F-F14B-A6F6-A3E7-94F57255D268}"/>
                </a:ext>
              </a:extLst>
            </p:cNvPr>
            <p:cNvSpPr txBox="1"/>
            <p:nvPr/>
          </p:nvSpPr>
          <p:spPr>
            <a:xfrm>
              <a:off x="4885359" y="2785731"/>
              <a:ext cx="992626" cy="307777"/>
            </a:xfrm>
            <a:prstGeom prst="rect">
              <a:avLst/>
            </a:prstGeom>
            <a:noFill/>
            <a:ln>
              <a:noFill/>
            </a:ln>
          </p:spPr>
          <p:txBody>
            <a:bodyPr wrap="square" rtlCol="0">
              <a:spAutoFit/>
            </a:bodyPr>
            <a:lstStyle/>
            <a:p>
              <a:pPr algn="ctr">
                <a:buClr>
                  <a:srgbClr val="ED1A3B"/>
                </a:buClr>
              </a:pPr>
              <a:r>
                <a:rPr lang="es-PE" sz="1400" b="1" noProof="0" dirty="0"/>
                <a:t>Objetivo</a:t>
              </a:r>
            </a:p>
          </p:txBody>
        </p:sp>
        <p:pic>
          <p:nvPicPr>
            <p:cNvPr id="36" name="Imagen 35">
              <a:extLst>
                <a:ext uri="{FF2B5EF4-FFF2-40B4-BE49-F238E27FC236}">
                  <a16:creationId xmlns:a16="http://schemas.microsoft.com/office/drawing/2014/main" id="{07E3441B-9F2E-FA8A-1382-76905A599CEB}"/>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5124790" y="3097299"/>
              <a:ext cx="523220" cy="523220"/>
            </a:xfrm>
            <a:prstGeom prst="rect">
              <a:avLst/>
            </a:prstGeom>
          </p:spPr>
        </p:pic>
        <p:sp>
          <p:nvSpPr>
            <p:cNvPr id="37" name="CuadroTexto 10">
              <a:extLst>
                <a:ext uri="{FF2B5EF4-FFF2-40B4-BE49-F238E27FC236}">
                  <a16:creationId xmlns:a16="http://schemas.microsoft.com/office/drawing/2014/main" id="{9F4F744F-7FFF-E9A2-B495-70A61017B609}"/>
                </a:ext>
              </a:extLst>
            </p:cNvPr>
            <p:cNvSpPr txBox="1"/>
            <p:nvPr/>
          </p:nvSpPr>
          <p:spPr>
            <a:xfrm>
              <a:off x="4755045" y="3569034"/>
              <a:ext cx="1233376" cy="307777"/>
            </a:xfrm>
            <a:prstGeom prst="rect">
              <a:avLst/>
            </a:prstGeom>
            <a:noFill/>
            <a:ln>
              <a:noFill/>
            </a:ln>
          </p:spPr>
          <p:txBody>
            <a:bodyPr wrap="square" rtlCol="0">
              <a:spAutoFit/>
            </a:bodyPr>
            <a:lstStyle/>
            <a:p>
              <a:pPr algn="ctr">
                <a:buClr>
                  <a:srgbClr val="ED1A3B"/>
                </a:buClr>
              </a:pPr>
              <a:r>
                <a:rPr lang="es-PE" sz="1400" b="1" noProof="0" dirty="0"/>
                <a:t>Importancia</a:t>
              </a:r>
            </a:p>
          </p:txBody>
        </p:sp>
        <p:pic>
          <p:nvPicPr>
            <p:cNvPr id="39" name="Imagen 38">
              <a:extLst>
                <a:ext uri="{FF2B5EF4-FFF2-40B4-BE49-F238E27FC236}">
                  <a16:creationId xmlns:a16="http://schemas.microsoft.com/office/drawing/2014/main" id="{A5F9E380-5F3E-74D2-1BE9-9399A5DF4AC8}"/>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5065639" y="3829639"/>
              <a:ext cx="589459" cy="589459"/>
            </a:xfrm>
            <a:prstGeom prst="rect">
              <a:avLst/>
            </a:prstGeom>
          </p:spPr>
        </p:pic>
        <p:sp>
          <p:nvSpPr>
            <p:cNvPr id="40" name="CuadroTexto 10">
              <a:extLst>
                <a:ext uri="{FF2B5EF4-FFF2-40B4-BE49-F238E27FC236}">
                  <a16:creationId xmlns:a16="http://schemas.microsoft.com/office/drawing/2014/main" id="{A869CCBF-0B27-1B67-D98A-F2DCC6841A90}"/>
                </a:ext>
              </a:extLst>
            </p:cNvPr>
            <p:cNvSpPr txBox="1"/>
            <p:nvPr/>
          </p:nvSpPr>
          <p:spPr>
            <a:xfrm>
              <a:off x="4621619" y="4339261"/>
              <a:ext cx="1573618" cy="307777"/>
            </a:xfrm>
            <a:prstGeom prst="rect">
              <a:avLst/>
            </a:prstGeom>
            <a:noFill/>
            <a:ln>
              <a:noFill/>
            </a:ln>
          </p:spPr>
          <p:txBody>
            <a:bodyPr wrap="square" rtlCol="0">
              <a:spAutoFit/>
            </a:bodyPr>
            <a:lstStyle/>
            <a:p>
              <a:pPr algn="ctr">
                <a:buClr>
                  <a:srgbClr val="ED1A3B"/>
                </a:buClr>
              </a:pPr>
              <a:r>
                <a:rPr lang="es-PE" sz="1400" b="1" noProof="0" dirty="0"/>
                <a:t>Responsabilidad</a:t>
              </a:r>
            </a:p>
          </p:txBody>
        </p:sp>
        <p:pic>
          <p:nvPicPr>
            <p:cNvPr id="41" name="Imagen 40">
              <a:extLst>
                <a:ext uri="{FF2B5EF4-FFF2-40B4-BE49-F238E27FC236}">
                  <a16:creationId xmlns:a16="http://schemas.microsoft.com/office/drawing/2014/main" id="{D8608B14-94BD-40E1-B576-A3B5AB46FE3E}"/>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5065639" y="4625381"/>
              <a:ext cx="589459" cy="589459"/>
            </a:xfrm>
            <a:prstGeom prst="rect">
              <a:avLst/>
            </a:prstGeom>
          </p:spPr>
        </p:pic>
        <p:sp>
          <p:nvSpPr>
            <p:cNvPr id="42" name="CuadroTexto 10">
              <a:extLst>
                <a:ext uri="{FF2B5EF4-FFF2-40B4-BE49-F238E27FC236}">
                  <a16:creationId xmlns:a16="http://schemas.microsoft.com/office/drawing/2014/main" id="{899037F4-6295-A252-CCDB-D6D0F68396D6}"/>
                </a:ext>
              </a:extLst>
            </p:cNvPr>
            <p:cNvSpPr txBox="1"/>
            <p:nvPr/>
          </p:nvSpPr>
          <p:spPr>
            <a:xfrm>
              <a:off x="4607443" y="5163355"/>
              <a:ext cx="1573618" cy="307777"/>
            </a:xfrm>
            <a:prstGeom prst="rect">
              <a:avLst/>
            </a:prstGeom>
            <a:noFill/>
            <a:ln>
              <a:noFill/>
            </a:ln>
          </p:spPr>
          <p:txBody>
            <a:bodyPr wrap="square" rtlCol="0">
              <a:spAutoFit/>
            </a:bodyPr>
            <a:lstStyle/>
            <a:p>
              <a:pPr algn="ctr">
                <a:buClr>
                  <a:srgbClr val="ED1A3B"/>
                </a:buClr>
              </a:pPr>
              <a:r>
                <a:rPr lang="es-PE" sz="1400" b="1" noProof="0" dirty="0"/>
                <a:t>Seguridad</a:t>
              </a:r>
            </a:p>
          </p:txBody>
        </p:sp>
        <p:pic>
          <p:nvPicPr>
            <p:cNvPr id="43" name="Imagen 42">
              <a:extLst>
                <a:ext uri="{FF2B5EF4-FFF2-40B4-BE49-F238E27FC236}">
                  <a16:creationId xmlns:a16="http://schemas.microsoft.com/office/drawing/2014/main" id="{2B32DB5E-9218-9976-1614-468EE8F179BB}"/>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5097937" y="5457589"/>
              <a:ext cx="557161" cy="557161"/>
            </a:xfrm>
            <a:prstGeom prst="rect">
              <a:avLst/>
            </a:prstGeom>
          </p:spPr>
        </p:pic>
        <p:sp>
          <p:nvSpPr>
            <p:cNvPr id="44" name="CuadroTexto 10">
              <a:extLst>
                <a:ext uri="{FF2B5EF4-FFF2-40B4-BE49-F238E27FC236}">
                  <a16:creationId xmlns:a16="http://schemas.microsoft.com/office/drawing/2014/main" id="{D4FB2E89-FA60-95EF-4542-1878768EADB9}"/>
                </a:ext>
              </a:extLst>
            </p:cNvPr>
            <p:cNvSpPr txBox="1"/>
            <p:nvPr/>
          </p:nvSpPr>
          <p:spPr>
            <a:xfrm>
              <a:off x="4586179" y="5977441"/>
              <a:ext cx="1573618" cy="307777"/>
            </a:xfrm>
            <a:prstGeom prst="rect">
              <a:avLst/>
            </a:prstGeom>
            <a:noFill/>
            <a:ln>
              <a:noFill/>
            </a:ln>
          </p:spPr>
          <p:txBody>
            <a:bodyPr wrap="square" rtlCol="0">
              <a:spAutoFit/>
            </a:bodyPr>
            <a:lstStyle/>
            <a:p>
              <a:pPr algn="ctr">
                <a:buClr>
                  <a:srgbClr val="ED1A3B"/>
                </a:buClr>
              </a:pPr>
              <a:r>
                <a:rPr lang="es-PE" sz="1400" b="1" noProof="0" dirty="0"/>
                <a:t>Confiabilidad</a:t>
              </a:r>
            </a:p>
          </p:txBody>
        </p:sp>
      </p:grpSp>
      <p:sp>
        <p:nvSpPr>
          <p:cNvPr id="9" name="Rectángulo: esquinas redondeadas 8">
            <a:extLst>
              <a:ext uri="{FF2B5EF4-FFF2-40B4-BE49-F238E27FC236}">
                <a16:creationId xmlns:a16="http://schemas.microsoft.com/office/drawing/2014/main" id="{9AB72DF9-6EC4-D74E-9042-E0E48E78422E}"/>
              </a:ext>
            </a:extLst>
          </p:cNvPr>
          <p:cNvSpPr/>
          <p:nvPr/>
        </p:nvSpPr>
        <p:spPr>
          <a:xfrm>
            <a:off x="5973347" y="1724997"/>
            <a:ext cx="5761453" cy="1060176"/>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s-PE" b="1" noProof="0" dirty="0"/>
          </a:p>
        </p:txBody>
      </p:sp>
      <p:sp>
        <p:nvSpPr>
          <p:cNvPr id="11" name="CuadroTexto 10">
            <a:extLst>
              <a:ext uri="{FF2B5EF4-FFF2-40B4-BE49-F238E27FC236}">
                <a16:creationId xmlns:a16="http://schemas.microsoft.com/office/drawing/2014/main" id="{F5300CA0-D305-CEC6-92F6-5BE4E299C953}"/>
              </a:ext>
            </a:extLst>
          </p:cNvPr>
          <p:cNvSpPr txBox="1"/>
          <p:nvPr/>
        </p:nvSpPr>
        <p:spPr>
          <a:xfrm>
            <a:off x="6034673" y="1844221"/>
            <a:ext cx="5638800" cy="923330"/>
          </a:xfrm>
          <a:prstGeom prst="rect">
            <a:avLst/>
          </a:prstGeom>
          <a:noFill/>
        </p:spPr>
        <p:txBody>
          <a:bodyPr wrap="square" rtlCol="0">
            <a:spAutoFit/>
          </a:bodyPr>
          <a:lstStyle/>
          <a:p>
            <a:r>
              <a:rPr lang="es-ES" dirty="0"/>
              <a:t>Es un proceso clave para la correcta ingesta al </a:t>
            </a:r>
            <a:r>
              <a:rPr lang="es-ES" dirty="0" err="1"/>
              <a:t>Datalake</a:t>
            </a:r>
            <a:r>
              <a:rPr lang="es-ES" dirty="0"/>
              <a:t>, ya que, permite establecer los parámetros para establecer conexiones con las fuentes de datos de la solución.</a:t>
            </a:r>
            <a:endParaRPr lang="es-PE" dirty="0"/>
          </a:p>
        </p:txBody>
      </p:sp>
      <p:sp>
        <p:nvSpPr>
          <p:cNvPr id="13" name="CuadroTexto 10">
            <a:extLst>
              <a:ext uri="{FF2B5EF4-FFF2-40B4-BE49-F238E27FC236}">
                <a16:creationId xmlns:a16="http://schemas.microsoft.com/office/drawing/2014/main" id="{06DD0B09-6F02-A95E-F8E8-0237C12D6824}"/>
              </a:ext>
            </a:extLst>
          </p:cNvPr>
          <p:cNvSpPr txBox="1"/>
          <p:nvPr/>
        </p:nvSpPr>
        <p:spPr>
          <a:xfrm>
            <a:off x="6043020" y="3537954"/>
            <a:ext cx="4546671" cy="738664"/>
          </a:xfrm>
          <a:prstGeom prst="rect">
            <a:avLst/>
          </a:prstGeom>
          <a:noFill/>
          <a:ln>
            <a:noFill/>
          </a:ln>
        </p:spPr>
        <p:txBody>
          <a:bodyPr wrap="square" rtlCol="0">
            <a:spAutoFit/>
          </a:bodyPr>
          <a:lstStyle/>
          <a:p>
            <a:pPr>
              <a:buClr>
                <a:srgbClr val="ED1A3B"/>
              </a:buClr>
            </a:pPr>
            <a:r>
              <a:rPr lang="es-ES" sz="1400" dirty="0"/>
              <a:t>El procedimiento </a:t>
            </a:r>
            <a:r>
              <a:rPr lang="es-ES" sz="1400" b="1" dirty="0">
                <a:solidFill>
                  <a:srgbClr val="FF0000"/>
                </a:solidFill>
              </a:rPr>
              <a:t>DG-PRO-PCMD-MINS-001-Procedimiento para Configurar </a:t>
            </a:r>
            <a:r>
              <a:rPr lang="es-ES" sz="1400" b="1" dirty="0" err="1">
                <a:solidFill>
                  <a:srgbClr val="FF0000"/>
                </a:solidFill>
              </a:rPr>
              <a:t>Metadata</a:t>
            </a:r>
            <a:r>
              <a:rPr lang="es-ES" sz="1400" b="1" dirty="0">
                <a:solidFill>
                  <a:srgbClr val="FF0000"/>
                </a:solidFill>
              </a:rPr>
              <a:t> </a:t>
            </a:r>
            <a:r>
              <a:rPr lang="es-ES" sz="1400" b="1" dirty="0" err="1">
                <a:solidFill>
                  <a:srgbClr val="FF0000"/>
                </a:solidFill>
              </a:rPr>
              <a:t>Driven</a:t>
            </a:r>
            <a:r>
              <a:rPr lang="es-ES" sz="1400" b="1" dirty="0">
                <a:solidFill>
                  <a:srgbClr val="FF0000"/>
                </a:solidFill>
              </a:rPr>
              <a:t> v1.0 </a:t>
            </a:r>
            <a:r>
              <a:rPr lang="es-ES" sz="1400" dirty="0"/>
              <a:t>deberá ser </a:t>
            </a:r>
            <a:r>
              <a:rPr lang="es-ES" sz="1400" b="1" dirty="0">
                <a:solidFill>
                  <a:srgbClr val="FF0000"/>
                </a:solidFill>
              </a:rPr>
              <a:t>actualizado</a:t>
            </a:r>
            <a:r>
              <a:rPr lang="es-ES" sz="1400" dirty="0"/>
              <a:t> en caso se detecten nuevas fuentes</a:t>
            </a:r>
            <a:endParaRPr lang="es-PE" sz="1400" noProof="0" dirty="0"/>
          </a:p>
        </p:txBody>
      </p:sp>
      <p:sp>
        <p:nvSpPr>
          <p:cNvPr id="16" name="CuadroTexto 10">
            <a:extLst>
              <a:ext uri="{FF2B5EF4-FFF2-40B4-BE49-F238E27FC236}">
                <a16:creationId xmlns:a16="http://schemas.microsoft.com/office/drawing/2014/main" id="{8B370E2A-8DFE-E555-A713-4D19B75293D4}"/>
              </a:ext>
            </a:extLst>
          </p:cNvPr>
          <p:cNvSpPr txBox="1"/>
          <p:nvPr/>
        </p:nvSpPr>
        <p:spPr>
          <a:xfrm>
            <a:off x="6020517" y="4409927"/>
            <a:ext cx="4546671" cy="738664"/>
          </a:xfrm>
          <a:prstGeom prst="rect">
            <a:avLst/>
          </a:prstGeom>
          <a:noFill/>
          <a:ln>
            <a:noFill/>
          </a:ln>
        </p:spPr>
        <p:txBody>
          <a:bodyPr wrap="square" rtlCol="0">
            <a:spAutoFit/>
          </a:bodyPr>
          <a:lstStyle/>
          <a:p>
            <a:pPr>
              <a:buClr>
                <a:srgbClr val="ED1A3B"/>
              </a:buClr>
            </a:pPr>
            <a:r>
              <a:rPr lang="es-ES" sz="1400" b="1" dirty="0">
                <a:solidFill>
                  <a:srgbClr val="FF0000"/>
                </a:solidFill>
              </a:rPr>
              <a:t>Arquitectura de Soluciones </a:t>
            </a:r>
            <a:r>
              <a:rPr lang="es-ES" sz="1400" dirty="0"/>
              <a:t>será el </a:t>
            </a:r>
            <a:r>
              <a:rPr lang="es-ES" sz="1400" b="1" dirty="0">
                <a:solidFill>
                  <a:srgbClr val="FF0000"/>
                </a:solidFill>
              </a:rPr>
              <a:t>responsable</a:t>
            </a:r>
            <a:r>
              <a:rPr lang="es-ES" sz="1400" dirty="0"/>
              <a:t> de aprobar el procesamiento de las nuevas plantillas de </a:t>
            </a:r>
            <a:r>
              <a:rPr lang="es-ES" sz="1400" dirty="0" err="1"/>
              <a:t>metadata</a:t>
            </a:r>
            <a:r>
              <a:rPr lang="es-ES" sz="1400" dirty="0"/>
              <a:t> </a:t>
            </a:r>
            <a:r>
              <a:rPr lang="es-ES" sz="1400" dirty="0" err="1"/>
              <a:t>driven</a:t>
            </a:r>
            <a:r>
              <a:rPr lang="es-ES" sz="1400" dirty="0"/>
              <a:t> de las </a:t>
            </a:r>
            <a:r>
              <a:rPr lang="es-ES" sz="1400" b="1" dirty="0">
                <a:solidFill>
                  <a:srgbClr val="FF0000"/>
                </a:solidFill>
              </a:rPr>
              <a:t>nuevas fuentes.</a:t>
            </a:r>
            <a:endParaRPr lang="es-PE" sz="1400" b="1" noProof="0" dirty="0">
              <a:solidFill>
                <a:srgbClr val="FF0000"/>
              </a:solidFill>
            </a:endParaRPr>
          </a:p>
        </p:txBody>
      </p:sp>
      <p:sp>
        <p:nvSpPr>
          <p:cNvPr id="18" name="CuadroTexto 17">
            <a:extLst>
              <a:ext uri="{FF2B5EF4-FFF2-40B4-BE49-F238E27FC236}">
                <a16:creationId xmlns:a16="http://schemas.microsoft.com/office/drawing/2014/main" id="{BCC0CA41-31A1-31C5-597B-1471A4655F9A}"/>
              </a:ext>
            </a:extLst>
          </p:cNvPr>
          <p:cNvSpPr txBox="1"/>
          <p:nvPr/>
        </p:nvSpPr>
        <p:spPr>
          <a:xfrm>
            <a:off x="5973346" y="6527758"/>
            <a:ext cx="6060386" cy="261610"/>
          </a:xfrm>
          <a:prstGeom prst="rect">
            <a:avLst/>
          </a:prstGeom>
          <a:noFill/>
        </p:spPr>
        <p:txBody>
          <a:bodyPr wrap="square" rtlCol="0">
            <a:spAutoFit/>
          </a:bodyPr>
          <a:lstStyle/>
          <a:p>
            <a:r>
              <a:rPr lang="es-ES" sz="1100" b="1" dirty="0"/>
              <a:t>Doc. De Referencia: </a:t>
            </a:r>
            <a:r>
              <a:rPr lang="pt-BR" sz="1100" b="1" dirty="0"/>
              <a:t>DG-PRO-PCMD-MINS-001-Procedimiento para Configurar </a:t>
            </a:r>
            <a:r>
              <a:rPr lang="pt-BR" sz="1100" b="1" dirty="0" err="1"/>
              <a:t>Metadata</a:t>
            </a:r>
            <a:r>
              <a:rPr lang="pt-BR" sz="1100" b="1" dirty="0"/>
              <a:t> </a:t>
            </a:r>
            <a:r>
              <a:rPr lang="pt-BR" sz="1100" b="1" dirty="0" err="1"/>
              <a:t>Driven</a:t>
            </a:r>
            <a:r>
              <a:rPr lang="pt-BR" sz="1100" b="1" dirty="0"/>
              <a:t> v1.0 </a:t>
            </a:r>
            <a:endParaRPr lang="es-PE" sz="1100" b="1" dirty="0"/>
          </a:p>
        </p:txBody>
      </p:sp>
    </p:spTree>
    <p:extLst>
      <p:ext uri="{BB962C8B-B14F-4D97-AF65-F5344CB8AC3E}">
        <p14:creationId xmlns:p14="http://schemas.microsoft.com/office/powerpoint/2010/main" val="5480266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fade">
                                      <p:cBhvr>
                                        <p:cTn id="21" dur="500"/>
                                        <p:tgtEl>
                                          <p:spTgt spid="29"/>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1"/>
                                        </p:tgtEl>
                                        <p:attrNameLst>
                                          <p:attrName>style.visibility</p:attrName>
                                        </p:attrNameLst>
                                      </p:cBhvr>
                                      <p:to>
                                        <p:strVal val="visible"/>
                                      </p:to>
                                    </p:set>
                                    <p:animEffect transition="in" filter="fade">
                                      <p:cBhvr>
                                        <p:cTn id="26" dur="500"/>
                                        <p:tgtEl>
                                          <p:spTgt spid="3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fade">
                                      <p:cBhvr>
                                        <p:cTn id="31" dur="500"/>
                                        <p:tgtEl>
                                          <p:spTgt spid="32"/>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500"/>
                                        <p:tgtEl>
                                          <p:spTgt spid="13"/>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fade">
                                      <p:cBhvr>
                                        <p:cTn id="41"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3" grpId="0"/>
      <p:bldP spid="29" grpId="0"/>
      <p:bldP spid="31" grpId="0"/>
      <p:bldP spid="32" grpId="0"/>
      <p:bldP spid="13" grpId="0"/>
      <p:bldP spid="1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E6184B-C262-D78B-4AB6-D7155A18106A}"/>
            </a:ext>
          </a:extLst>
        </p:cNvPr>
        <p:cNvGrpSpPr/>
        <p:nvPr/>
      </p:nvGrpSpPr>
      <p:grpSpPr>
        <a:xfrm>
          <a:off x="0" y="0"/>
          <a:ext cx="0" cy="0"/>
          <a:chOff x="0" y="0"/>
          <a:chExt cx="0" cy="0"/>
        </a:xfrm>
      </p:grpSpPr>
      <p:pic>
        <p:nvPicPr>
          <p:cNvPr id="7" name="Imagen 6" descr="Imagen que contiene Logotipo&#10;&#10;Descripción generada automáticamente">
            <a:extLst>
              <a:ext uri="{FF2B5EF4-FFF2-40B4-BE49-F238E27FC236}">
                <a16:creationId xmlns:a16="http://schemas.microsoft.com/office/drawing/2014/main" id="{A0654B97-5BDF-BC6F-E116-917EA6128CF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0800000">
            <a:off x="5081070" y="5797825"/>
            <a:ext cx="7110930" cy="1060175"/>
          </a:xfrm>
          <a:prstGeom prst="rect">
            <a:avLst/>
          </a:prstGeom>
        </p:spPr>
      </p:pic>
      <p:graphicFrame>
        <p:nvGraphicFramePr>
          <p:cNvPr id="3" name="Objeto 2" hidden="1">
            <a:extLst>
              <a:ext uri="{FF2B5EF4-FFF2-40B4-BE49-F238E27FC236}">
                <a16:creationId xmlns:a16="http://schemas.microsoft.com/office/drawing/2014/main" id="{94C67427-1633-3724-B052-8F6DB53DCA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3" name="Objeto 2" hidden="1">
                        <a:extLst>
                          <a:ext uri="{FF2B5EF4-FFF2-40B4-BE49-F238E27FC236}">
                            <a16:creationId xmlns:a16="http://schemas.microsoft.com/office/drawing/2014/main" id="{94C67427-1633-3724-B052-8F6DB53DCA9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6B2CC51A-F54C-E70E-DCF1-6FD47F2EFC61}"/>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28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sym typeface="Calibri" panose="020F0502020204030204" pitchFamily="34" charset="0"/>
            </a:endParaRPr>
          </a:p>
        </p:txBody>
      </p:sp>
      <p:pic>
        <p:nvPicPr>
          <p:cNvPr id="38" name="Imagen 37" descr="Imagen que contiene Logotipo&#10;&#10;Descripción generada automáticamente">
            <a:extLst>
              <a:ext uri="{FF2B5EF4-FFF2-40B4-BE49-F238E27FC236}">
                <a16:creationId xmlns:a16="http://schemas.microsoft.com/office/drawing/2014/main" id="{7797D4A5-AF83-45FC-2FF6-A291BF38E0F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7110930" cy="1060175"/>
          </a:xfrm>
          <a:prstGeom prst="rect">
            <a:avLst/>
          </a:prstGeom>
        </p:spPr>
      </p:pic>
      <p:pic>
        <p:nvPicPr>
          <p:cNvPr id="6" name="Imagen 5" descr="Logotipo&#10;&#10;Descripción generada automáticamente">
            <a:extLst>
              <a:ext uri="{FF2B5EF4-FFF2-40B4-BE49-F238E27FC236}">
                <a16:creationId xmlns:a16="http://schemas.microsoft.com/office/drawing/2014/main" id="{F60C5DE9-20F2-693D-BC35-556C9750201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29800" y="530086"/>
            <a:ext cx="1905000" cy="698500"/>
          </a:xfrm>
          <a:prstGeom prst="rect">
            <a:avLst/>
          </a:prstGeom>
        </p:spPr>
      </p:pic>
      <p:sp>
        <p:nvSpPr>
          <p:cNvPr id="2" name="Title 2">
            <a:extLst>
              <a:ext uri="{FF2B5EF4-FFF2-40B4-BE49-F238E27FC236}">
                <a16:creationId xmlns:a16="http://schemas.microsoft.com/office/drawing/2014/main" id="{E2B556CD-D6EB-060E-4658-DF2B057B29A3}"/>
              </a:ext>
            </a:extLst>
          </p:cNvPr>
          <p:cNvSpPr>
            <a:spLocks noGrp="1"/>
          </p:cNvSpPr>
          <p:nvPr>
            <p:ph type="title"/>
          </p:nvPr>
        </p:nvSpPr>
        <p:spPr>
          <a:xfrm>
            <a:off x="1260712" y="698285"/>
            <a:ext cx="8104008" cy="492443"/>
          </a:xfrm>
        </p:spPr>
        <p:txBody>
          <a:bodyPr anchor="ctr"/>
          <a:lstStyle/>
          <a:p>
            <a:pPr>
              <a:lnSpc>
                <a:spcPct val="100000"/>
              </a:lnSpc>
              <a:spcBef>
                <a:spcPts val="0"/>
              </a:spcBef>
            </a:pPr>
            <a:r>
              <a:rPr lang="es-PE" sz="3200" b="1" noProof="0" dirty="0">
                <a:solidFill>
                  <a:srgbClr val="3FA7A7"/>
                </a:solidFill>
                <a:latin typeface="Source Sans Pro" panose="020B0503030403020204" pitchFamily="34" charset="0"/>
                <a:ea typeface="Source Sans Pro" panose="020B0503030403020204" pitchFamily="34" charset="0"/>
                <a:cs typeface="Open Sans"/>
              </a:rPr>
              <a:t>Lineamientos Unity </a:t>
            </a:r>
            <a:r>
              <a:rPr lang="es-PE" sz="3200" b="1" noProof="0" dirty="0" err="1">
                <a:solidFill>
                  <a:srgbClr val="3FA7A7"/>
                </a:solidFill>
                <a:latin typeface="Source Sans Pro" panose="020B0503030403020204" pitchFamily="34" charset="0"/>
                <a:ea typeface="Source Sans Pro" panose="020B0503030403020204" pitchFamily="34" charset="0"/>
                <a:cs typeface="Open Sans"/>
              </a:rPr>
              <a:t>Catalog</a:t>
            </a:r>
            <a:endParaRPr lang="es-PE" sz="3200" b="1" noProof="0" dirty="0">
              <a:solidFill>
                <a:srgbClr val="3FA7A7"/>
              </a:solidFill>
              <a:latin typeface="Source Sans Pro" panose="020B0503030403020204" pitchFamily="34" charset="0"/>
              <a:ea typeface="Source Sans Pro" panose="020B0503030403020204" pitchFamily="34" charset="0"/>
              <a:cs typeface="Open Sans"/>
            </a:endParaRPr>
          </a:p>
        </p:txBody>
      </p:sp>
      <p:sp>
        <p:nvSpPr>
          <p:cNvPr id="8" name="Shape 20611">
            <a:extLst>
              <a:ext uri="{FF2B5EF4-FFF2-40B4-BE49-F238E27FC236}">
                <a16:creationId xmlns:a16="http://schemas.microsoft.com/office/drawing/2014/main" id="{26C04124-3192-E162-615F-9CD82C2943F6}"/>
              </a:ext>
            </a:extLst>
          </p:cNvPr>
          <p:cNvSpPr/>
          <p:nvPr/>
        </p:nvSpPr>
        <p:spPr>
          <a:xfrm>
            <a:off x="5973738" y="2443540"/>
            <a:ext cx="0" cy="394175"/>
          </a:xfrm>
          <a:prstGeom prst="line">
            <a:avLst/>
          </a:pr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s-PE" sz="2400" noProof="0" dirty="0">
              <a:latin typeface="Trebuchet MS" panose="020B0603020202020204" pitchFamily="34" charset="0"/>
            </a:endParaRPr>
          </a:p>
        </p:txBody>
      </p:sp>
      <p:sp>
        <p:nvSpPr>
          <p:cNvPr id="10" name="Shape 20619">
            <a:extLst>
              <a:ext uri="{FF2B5EF4-FFF2-40B4-BE49-F238E27FC236}">
                <a16:creationId xmlns:a16="http://schemas.microsoft.com/office/drawing/2014/main" id="{BED78502-456F-5967-EFE7-0C280690ED96}"/>
              </a:ext>
            </a:extLst>
          </p:cNvPr>
          <p:cNvSpPr/>
          <p:nvPr/>
        </p:nvSpPr>
        <p:spPr>
          <a:xfrm flipH="1">
            <a:off x="3321366" y="2001236"/>
            <a:ext cx="387925" cy="83647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s-PE" sz="2400" noProof="0" dirty="0">
              <a:latin typeface="Trebuchet MS" panose="020B0603020202020204" pitchFamily="34" charset="0"/>
            </a:endParaRPr>
          </a:p>
        </p:txBody>
      </p:sp>
      <p:sp>
        <p:nvSpPr>
          <p:cNvPr id="12" name="Shape 20624">
            <a:extLst>
              <a:ext uri="{FF2B5EF4-FFF2-40B4-BE49-F238E27FC236}">
                <a16:creationId xmlns:a16="http://schemas.microsoft.com/office/drawing/2014/main" id="{5E2B08D6-AE34-40EC-75C1-DB41B0BE3EDF}"/>
              </a:ext>
            </a:extLst>
          </p:cNvPr>
          <p:cNvSpPr/>
          <p:nvPr/>
        </p:nvSpPr>
        <p:spPr>
          <a:xfrm rot="10800000">
            <a:off x="3790163" y="4827323"/>
            <a:ext cx="1039035" cy="24541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s-PE" sz="2400" noProof="0" dirty="0">
              <a:latin typeface="Trebuchet MS" panose="020B0603020202020204" pitchFamily="34" charset="0"/>
            </a:endParaRPr>
          </a:p>
        </p:txBody>
      </p:sp>
      <p:sp>
        <p:nvSpPr>
          <p:cNvPr id="14" name="Shape 20629">
            <a:extLst>
              <a:ext uri="{FF2B5EF4-FFF2-40B4-BE49-F238E27FC236}">
                <a16:creationId xmlns:a16="http://schemas.microsoft.com/office/drawing/2014/main" id="{A1A4BA7E-C98C-B230-B3A2-CA6DC04ABB76}"/>
              </a:ext>
            </a:extLst>
          </p:cNvPr>
          <p:cNvSpPr/>
          <p:nvPr/>
        </p:nvSpPr>
        <p:spPr>
          <a:xfrm rot="10800000" flipH="1">
            <a:off x="7115642" y="4827323"/>
            <a:ext cx="1039035" cy="24540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s-PE" sz="2400" noProof="0" dirty="0">
              <a:latin typeface="Trebuchet MS" panose="020B0603020202020204" pitchFamily="34" charset="0"/>
            </a:endParaRPr>
          </a:p>
        </p:txBody>
      </p:sp>
      <p:sp>
        <p:nvSpPr>
          <p:cNvPr id="15" name="Shape 20633">
            <a:extLst>
              <a:ext uri="{FF2B5EF4-FFF2-40B4-BE49-F238E27FC236}">
                <a16:creationId xmlns:a16="http://schemas.microsoft.com/office/drawing/2014/main" id="{455BBEAF-8D05-9776-C8CC-79F6406415F4}"/>
              </a:ext>
            </a:extLst>
          </p:cNvPr>
          <p:cNvSpPr/>
          <p:nvPr/>
        </p:nvSpPr>
        <p:spPr>
          <a:xfrm rot="10800000" flipH="1">
            <a:off x="2739798" y="2821003"/>
            <a:ext cx="1932487" cy="147005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chemeClr val="accent1"/>
          </a:solidFill>
          <a:ln w="12700" cap="flat">
            <a:noFill/>
            <a:miter lim="400000"/>
          </a:ln>
          <a:effectLst/>
        </p:spPr>
        <p:txBody>
          <a:bodyPr wrap="square" lIns="0" tIns="0" rIns="0" bIns="0" numCol="1" anchor="t">
            <a:noAutofit/>
          </a:bodyPr>
          <a:lstStyle/>
          <a:p>
            <a:endParaRPr lang="es-PE" sz="2400" noProof="0" dirty="0">
              <a:latin typeface="Trebuchet MS" panose="020B0603020202020204" pitchFamily="34" charset="0"/>
            </a:endParaRPr>
          </a:p>
        </p:txBody>
      </p:sp>
      <p:sp>
        <p:nvSpPr>
          <p:cNvPr id="16" name="Shape 20636">
            <a:extLst>
              <a:ext uri="{FF2B5EF4-FFF2-40B4-BE49-F238E27FC236}">
                <a16:creationId xmlns:a16="http://schemas.microsoft.com/office/drawing/2014/main" id="{08733DE5-2442-26F8-EE09-4EEB78C1A60A}"/>
              </a:ext>
            </a:extLst>
          </p:cNvPr>
          <p:cNvSpPr/>
          <p:nvPr/>
        </p:nvSpPr>
        <p:spPr>
          <a:xfrm>
            <a:off x="3873648" y="3371475"/>
            <a:ext cx="1932484" cy="1470057"/>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chemeClr val="accent2"/>
          </a:solidFill>
          <a:ln w="12700" cap="flat">
            <a:noFill/>
            <a:miter lim="400000"/>
          </a:ln>
          <a:effectLst/>
        </p:spPr>
        <p:txBody>
          <a:bodyPr wrap="square" lIns="0" tIns="0" rIns="0" bIns="0" numCol="1" anchor="t">
            <a:noAutofit/>
          </a:bodyPr>
          <a:lstStyle/>
          <a:p>
            <a:endParaRPr lang="es-PE" sz="2400" noProof="0" dirty="0">
              <a:latin typeface="Trebuchet MS" panose="020B0603020202020204" pitchFamily="34" charset="0"/>
            </a:endParaRPr>
          </a:p>
        </p:txBody>
      </p:sp>
      <p:sp>
        <p:nvSpPr>
          <p:cNvPr id="17" name="Shape 20639">
            <a:extLst>
              <a:ext uri="{FF2B5EF4-FFF2-40B4-BE49-F238E27FC236}">
                <a16:creationId xmlns:a16="http://schemas.microsoft.com/office/drawing/2014/main" id="{5A61941C-04B1-262B-DE1F-902941673F2A}"/>
              </a:ext>
            </a:extLst>
          </p:cNvPr>
          <p:cNvSpPr/>
          <p:nvPr/>
        </p:nvSpPr>
        <p:spPr>
          <a:xfrm rot="10800000" flipH="1">
            <a:off x="5007498" y="2821003"/>
            <a:ext cx="1932484" cy="147005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chemeClr val="accent3"/>
          </a:solidFill>
          <a:ln w="12700" cap="flat">
            <a:noFill/>
            <a:miter lim="400000"/>
          </a:ln>
          <a:effectLst/>
        </p:spPr>
        <p:txBody>
          <a:bodyPr wrap="square" lIns="0" tIns="0" rIns="0" bIns="0" numCol="1" anchor="t">
            <a:noAutofit/>
          </a:bodyPr>
          <a:lstStyle/>
          <a:p>
            <a:endParaRPr lang="es-PE" sz="2400" noProof="0" dirty="0">
              <a:latin typeface="Trebuchet MS" panose="020B0603020202020204" pitchFamily="34" charset="0"/>
            </a:endParaRPr>
          </a:p>
        </p:txBody>
      </p:sp>
      <p:sp>
        <p:nvSpPr>
          <p:cNvPr id="19" name="Shape 20645">
            <a:extLst>
              <a:ext uri="{FF2B5EF4-FFF2-40B4-BE49-F238E27FC236}">
                <a16:creationId xmlns:a16="http://schemas.microsoft.com/office/drawing/2014/main" id="{26715CDE-6F84-12B1-6A61-300A46B0F24C}"/>
              </a:ext>
            </a:extLst>
          </p:cNvPr>
          <p:cNvSpPr/>
          <p:nvPr/>
        </p:nvSpPr>
        <p:spPr>
          <a:xfrm>
            <a:off x="6141347" y="3371475"/>
            <a:ext cx="1932484" cy="1470057"/>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chemeClr val="accent4"/>
          </a:solidFill>
          <a:ln w="12700" cap="flat">
            <a:noFill/>
            <a:miter lim="400000"/>
          </a:ln>
          <a:effectLst/>
        </p:spPr>
        <p:txBody>
          <a:bodyPr wrap="square" lIns="0" tIns="0" rIns="0" bIns="0" numCol="1" anchor="t">
            <a:noAutofit/>
          </a:bodyPr>
          <a:lstStyle/>
          <a:p>
            <a:endParaRPr lang="es-PE" sz="2400" noProof="0" dirty="0">
              <a:latin typeface="Trebuchet MS" panose="020B0603020202020204" pitchFamily="34" charset="0"/>
            </a:endParaRPr>
          </a:p>
        </p:txBody>
      </p:sp>
      <p:sp>
        <p:nvSpPr>
          <p:cNvPr id="20" name="Freeform 82">
            <a:extLst>
              <a:ext uri="{FF2B5EF4-FFF2-40B4-BE49-F238E27FC236}">
                <a16:creationId xmlns:a16="http://schemas.microsoft.com/office/drawing/2014/main" id="{40BDFDF7-CB1C-817F-9E5C-1C9CFB5D2C99}"/>
              </a:ext>
            </a:extLst>
          </p:cNvPr>
          <p:cNvSpPr>
            <a:spLocks noChangeArrowheads="1"/>
          </p:cNvSpPr>
          <p:nvPr/>
        </p:nvSpPr>
        <p:spPr bwMode="auto">
          <a:xfrm>
            <a:off x="5733370" y="3038744"/>
            <a:ext cx="504534" cy="431322"/>
          </a:xfrm>
          <a:custGeom>
            <a:avLst/>
            <a:gdLst>
              <a:gd name="T0" fmla="*/ 28575 w 899753"/>
              <a:gd name="T1" fmla="*/ 444500 h 842603"/>
              <a:gd name="T2" fmla="*/ 65686 w 899753"/>
              <a:gd name="T3" fmla="*/ 449899 h 842603"/>
              <a:gd name="T4" fmla="*/ 366179 w 899753"/>
              <a:gd name="T5" fmla="*/ 475816 h 842603"/>
              <a:gd name="T6" fmla="*/ 366179 w 899753"/>
              <a:gd name="T7" fmla="*/ 533047 h 842603"/>
              <a:gd name="T8" fmla="*/ 535161 w 899753"/>
              <a:gd name="T9" fmla="*/ 533047 h 842603"/>
              <a:gd name="T10" fmla="*/ 535161 w 899753"/>
              <a:gd name="T11" fmla="*/ 475816 h 842603"/>
              <a:gd name="T12" fmla="*/ 835293 w 899753"/>
              <a:gd name="T13" fmla="*/ 449899 h 842603"/>
              <a:gd name="T14" fmla="*/ 872765 w 899753"/>
              <a:gd name="T15" fmla="*/ 444500 h 842603"/>
              <a:gd name="T16" fmla="*/ 872765 w 899753"/>
              <a:gd name="T17" fmla="*/ 769894 h 842603"/>
              <a:gd name="T18" fmla="*/ 799984 w 899753"/>
              <a:gd name="T19" fmla="*/ 842603 h 842603"/>
              <a:gd name="T20" fmla="*/ 101356 w 899753"/>
              <a:gd name="T21" fmla="*/ 842603 h 842603"/>
              <a:gd name="T22" fmla="*/ 28575 w 899753"/>
              <a:gd name="T23" fmla="*/ 769894 h 842603"/>
              <a:gd name="T24" fmla="*/ 348884 w 899753"/>
              <a:gd name="T25" fmla="*/ 56606 h 842603"/>
              <a:gd name="T26" fmla="*/ 337362 w 899753"/>
              <a:gd name="T27" fmla="*/ 68144 h 842603"/>
              <a:gd name="T28" fmla="*/ 337362 w 899753"/>
              <a:gd name="T29" fmla="*/ 112852 h 842603"/>
              <a:gd name="T30" fmla="*/ 562391 w 899753"/>
              <a:gd name="T31" fmla="*/ 112852 h 842603"/>
              <a:gd name="T32" fmla="*/ 562391 w 899753"/>
              <a:gd name="T33" fmla="*/ 68144 h 842603"/>
              <a:gd name="T34" fmla="*/ 550869 w 899753"/>
              <a:gd name="T35" fmla="*/ 56606 h 842603"/>
              <a:gd name="T36" fmla="*/ 325841 w 899753"/>
              <a:gd name="T37" fmla="*/ 0 h 842603"/>
              <a:gd name="T38" fmla="*/ 573912 w 899753"/>
              <a:gd name="T39" fmla="*/ 0 h 842603"/>
              <a:gd name="T40" fmla="*/ 618558 w 899753"/>
              <a:gd name="T41" fmla="*/ 44708 h 842603"/>
              <a:gd name="T42" fmla="*/ 618558 w 899753"/>
              <a:gd name="T43" fmla="*/ 112852 h 842603"/>
              <a:gd name="T44" fmla="*/ 855108 w 899753"/>
              <a:gd name="T45" fmla="*/ 112852 h 842603"/>
              <a:gd name="T46" fmla="*/ 899753 w 899753"/>
              <a:gd name="T47" fmla="*/ 157561 h 842603"/>
              <a:gd name="T48" fmla="*/ 899753 w 899753"/>
              <a:gd name="T49" fmla="*/ 390837 h 842603"/>
              <a:gd name="T50" fmla="*/ 816943 w 899753"/>
              <a:gd name="T51" fmla="*/ 402014 h 842603"/>
              <a:gd name="T52" fmla="*/ 534307 w 899753"/>
              <a:gd name="T53" fmla="*/ 425089 h 842603"/>
              <a:gd name="T54" fmla="*/ 534307 w 899753"/>
              <a:gd name="T55" fmla="*/ 366320 h 842603"/>
              <a:gd name="T56" fmla="*/ 365446 w 899753"/>
              <a:gd name="T57" fmla="*/ 366320 h 842603"/>
              <a:gd name="T58" fmla="*/ 365446 w 899753"/>
              <a:gd name="T59" fmla="*/ 425089 h 842603"/>
              <a:gd name="T60" fmla="*/ 83171 w 899753"/>
              <a:gd name="T61" fmla="*/ 402014 h 842603"/>
              <a:gd name="T62" fmla="*/ 0 w 899753"/>
              <a:gd name="T63" fmla="*/ 390837 h 842603"/>
              <a:gd name="T64" fmla="*/ 0 w 899753"/>
              <a:gd name="T65" fmla="*/ 157561 h 842603"/>
              <a:gd name="T66" fmla="*/ 44646 w 899753"/>
              <a:gd name="T67" fmla="*/ 112852 h 842603"/>
              <a:gd name="T68" fmla="*/ 281195 w 899753"/>
              <a:gd name="T69" fmla="*/ 112852 h 842603"/>
              <a:gd name="T70" fmla="*/ 281195 w 899753"/>
              <a:gd name="T71" fmla="*/ 44708 h 84260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899753" h="842603">
                <a:moveTo>
                  <a:pt x="28575" y="444500"/>
                </a:moveTo>
                <a:lnTo>
                  <a:pt x="65686" y="449899"/>
                </a:lnTo>
                <a:cubicBezTo>
                  <a:pt x="165490" y="463937"/>
                  <a:pt x="265654" y="472576"/>
                  <a:pt x="366179" y="475816"/>
                </a:cubicBezTo>
                <a:lnTo>
                  <a:pt x="366179" y="533047"/>
                </a:lnTo>
                <a:lnTo>
                  <a:pt x="535161" y="533047"/>
                </a:lnTo>
                <a:lnTo>
                  <a:pt x="535161" y="475816"/>
                </a:lnTo>
                <a:cubicBezTo>
                  <a:pt x="635325" y="472576"/>
                  <a:pt x="735850" y="463937"/>
                  <a:pt x="835293" y="449899"/>
                </a:cubicBezTo>
                <a:lnTo>
                  <a:pt x="872765" y="444500"/>
                </a:lnTo>
                <a:lnTo>
                  <a:pt x="872765" y="769894"/>
                </a:lnTo>
                <a:lnTo>
                  <a:pt x="799984" y="842603"/>
                </a:lnTo>
                <a:lnTo>
                  <a:pt x="101356" y="842603"/>
                </a:lnTo>
                <a:lnTo>
                  <a:pt x="28575" y="769894"/>
                </a:lnTo>
                <a:lnTo>
                  <a:pt x="28575" y="444500"/>
                </a:lnTo>
                <a:close/>
                <a:moveTo>
                  <a:pt x="348884" y="56606"/>
                </a:moveTo>
                <a:lnTo>
                  <a:pt x="337362" y="68144"/>
                </a:lnTo>
                <a:lnTo>
                  <a:pt x="337362" y="112852"/>
                </a:lnTo>
                <a:lnTo>
                  <a:pt x="562391" y="112852"/>
                </a:lnTo>
                <a:lnTo>
                  <a:pt x="562391" y="68144"/>
                </a:lnTo>
                <a:lnTo>
                  <a:pt x="550869" y="56606"/>
                </a:lnTo>
                <a:lnTo>
                  <a:pt x="348884" y="56606"/>
                </a:lnTo>
                <a:close/>
                <a:moveTo>
                  <a:pt x="325841" y="0"/>
                </a:moveTo>
                <a:lnTo>
                  <a:pt x="573912" y="0"/>
                </a:lnTo>
                <a:lnTo>
                  <a:pt x="618558" y="44708"/>
                </a:lnTo>
                <a:lnTo>
                  <a:pt x="618558" y="112852"/>
                </a:lnTo>
                <a:lnTo>
                  <a:pt x="855108" y="112852"/>
                </a:lnTo>
                <a:lnTo>
                  <a:pt x="899753" y="157561"/>
                </a:lnTo>
                <a:lnTo>
                  <a:pt x="899753" y="390837"/>
                </a:lnTo>
                <a:lnTo>
                  <a:pt x="816943" y="402014"/>
                </a:lnTo>
                <a:cubicBezTo>
                  <a:pt x="722971" y="414633"/>
                  <a:pt x="628639" y="422205"/>
                  <a:pt x="534307" y="425089"/>
                </a:cubicBezTo>
                <a:lnTo>
                  <a:pt x="534307" y="366320"/>
                </a:lnTo>
                <a:lnTo>
                  <a:pt x="365446" y="366320"/>
                </a:lnTo>
                <a:lnTo>
                  <a:pt x="365446" y="425089"/>
                </a:lnTo>
                <a:cubicBezTo>
                  <a:pt x="271114" y="422205"/>
                  <a:pt x="176782" y="414633"/>
                  <a:pt x="83171" y="402014"/>
                </a:cubicBezTo>
                <a:lnTo>
                  <a:pt x="0" y="390837"/>
                </a:lnTo>
                <a:lnTo>
                  <a:pt x="0" y="157561"/>
                </a:lnTo>
                <a:lnTo>
                  <a:pt x="44646" y="112852"/>
                </a:lnTo>
                <a:lnTo>
                  <a:pt x="281195" y="112852"/>
                </a:lnTo>
                <a:lnTo>
                  <a:pt x="281195" y="44708"/>
                </a:lnTo>
                <a:lnTo>
                  <a:pt x="325841" y="0"/>
                </a:lnTo>
                <a:close/>
              </a:path>
            </a:pathLst>
          </a:custGeom>
          <a:solidFill>
            <a:schemeClr val="bg1"/>
          </a:solidFill>
          <a:ln>
            <a:noFill/>
          </a:ln>
          <a:effectLst/>
        </p:spPr>
        <p:txBody>
          <a:bodyPr anchor="ctr"/>
          <a:lstStyle/>
          <a:p>
            <a:endParaRPr lang="es-PE" sz="900" noProof="0" dirty="0">
              <a:latin typeface="Trebuchet MS" panose="020B0603020202020204" pitchFamily="34" charset="0"/>
            </a:endParaRPr>
          </a:p>
        </p:txBody>
      </p:sp>
      <p:sp>
        <p:nvSpPr>
          <p:cNvPr id="21" name="Freeform 41">
            <a:extLst>
              <a:ext uri="{FF2B5EF4-FFF2-40B4-BE49-F238E27FC236}">
                <a16:creationId xmlns:a16="http://schemas.microsoft.com/office/drawing/2014/main" id="{1959C1F6-5A77-80D5-7934-54A09F20718B}"/>
              </a:ext>
            </a:extLst>
          </p:cNvPr>
          <p:cNvSpPr>
            <a:spLocks noChangeArrowheads="1"/>
          </p:cNvSpPr>
          <p:nvPr/>
        </p:nvSpPr>
        <p:spPr bwMode="auto">
          <a:xfrm>
            <a:off x="3469345" y="3043516"/>
            <a:ext cx="473389" cy="460563"/>
          </a:xfrm>
          <a:custGeom>
            <a:avLst/>
            <a:gdLst>
              <a:gd name="T0" fmla="*/ 450379 w 2344"/>
              <a:gd name="T1" fmla="*/ 478140 h 2500"/>
              <a:gd name="T2" fmla="*/ 731775 w 2344"/>
              <a:gd name="T3" fmla="*/ 421973 h 2500"/>
              <a:gd name="T4" fmla="*/ 731775 w 2344"/>
              <a:gd name="T5" fmla="*/ 703168 h 2500"/>
              <a:gd name="T6" fmla="*/ 450379 w 2344"/>
              <a:gd name="T7" fmla="*/ 646641 h 2500"/>
              <a:gd name="T8" fmla="*/ 731775 w 2344"/>
              <a:gd name="T9" fmla="*/ 703168 h 2500"/>
              <a:gd name="T10" fmla="*/ 366068 w 2344"/>
              <a:gd name="T11" fmla="*/ 365446 h 2500"/>
              <a:gd name="T12" fmla="*/ 337964 w 2344"/>
              <a:gd name="T13" fmla="*/ 337362 h 2500"/>
              <a:gd name="T14" fmla="*/ 366068 w 2344"/>
              <a:gd name="T15" fmla="*/ 309279 h 2500"/>
              <a:gd name="T16" fmla="*/ 394171 w 2344"/>
              <a:gd name="T17" fmla="*/ 337362 h 2500"/>
              <a:gd name="T18" fmla="*/ 366068 w 2344"/>
              <a:gd name="T19" fmla="*/ 478140 h 2500"/>
              <a:gd name="T20" fmla="*/ 337964 w 2344"/>
              <a:gd name="T21" fmla="*/ 449696 h 2500"/>
              <a:gd name="T22" fmla="*/ 366068 w 2344"/>
              <a:gd name="T23" fmla="*/ 421973 h 2500"/>
              <a:gd name="T24" fmla="*/ 394171 w 2344"/>
              <a:gd name="T25" fmla="*/ 449696 h 2500"/>
              <a:gd name="T26" fmla="*/ 366068 w 2344"/>
              <a:gd name="T27" fmla="*/ 478140 h 2500"/>
              <a:gd name="T28" fmla="*/ 366068 w 2344"/>
              <a:gd name="T29" fmla="*/ 590474 h 2500"/>
              <a:gd name="T30" fmla="*/ 337964 w 2344"/>
              <a:gd name="T31" fmla="*/ 562391 h 2500"/>
              <a:gd name="T32" fmla="*/ 366068 w 2344"/>
              <a:gd name="T33" fmla="*/ 534307 h 2500"/>
              <a:gd name="T34" fmla="*/ 394171 w 2344"/>
              <a:gd name="T35" fmla="*/ 562391 h 2500"/>
              <a:gd name="T36" fmla="*/ 366068 w 2344"/>
              <a:gd name="T37" fmla="*/ 703168 h 2500"/>
              <a:gd name="T38" fmla="*/ 337964 w 2344"/>
              <a:gd name="T39" fmla="*/ 674725 h 2500"/>
              <a:gd name="T40" fmla="*/ 366068 w 2344"/>
              <a:gd name="T41" fmla="*/ 646641 h 2500"/>
              <a:gd name="T42" fmla="*/ 394171 w 2344"/>
              <a:gd name="T43" fmla="*/ 674725 h 2500"/>
              <a:gd name="T44" fmla="*/ 366068 w 2344"/>
              <a:gd name="T45" fmla="*/ 703168 h 2500"/>
              <a:gd name="T46" fmla="*/ 619000 w 2344"/>
              <a:gd name="T47" fmla="*/ 534307 h 2500"/>
              <a:gd name="T48" fmla="*/ 450379 w 2344"/>
              <a:gd name="T49" fmla="*/ 590474 h 2500"/>
              <a:gd name="T50" fmla="*/ 450379 w 2344"/>
              <a:gd name="T51" fmla="*/ 309279 h 2500"/>
              <a:gd name="T52" fmla="*/ 703311 w 2344"/>
              <a:gd name="T53" fmla="*/ 365446 h 2500"/>
              <a:gd name="T54" fmla="*/ 450379 w 2344"/>
              <a:gd name="T55" fmla="*/ 309279 h 2500"/>
              <a:gd name="T56" fmla="*/ 647104 w 2344"/>
              <a:gd name="T57" fmla="*/ 140418 h 2500"/>
              <a:gd name="T58" fmla="*/ 450379 w 2344"/>
              <a:gd name="T59" fmla="*/ 196585 h 2500"/>
              <a:gd name="T60" fmla="*/ 225189 w 2344"/>
              <a:gd name="T61" fmla="*/ 815502 h 2500"/>
              <a:gd name="T62" fmla="*/ 197086 w 2344"/>
              <a:gd name="T63" fmla="*/ 843586 h 2500"/>
              <a:gd name="T64" fmla="*/ 168982 w 2344"/>
              <a:gd name="T65" fmla="*/ 815502 h 2500"/>
              <a:gd name="T66" fmla="*/ 168982 w 2344"/>
              <a:gd name="T67" fmla="*/ 309279 h 2500"/>
              <a:gd name="T68" fmla="*/ 225189 w 2344"/>
              <a:gd name="T69" fmla="*/ 281195 h 2500"/>
              <a:gd name="T70" fmla="*/ 112775 w 2344"/>
              <a:gd name="T71" fmla="*/ 590474 h 2500"/>
              <a:gd name="T72" fmla="*/ 56568 w 2344"/>
              <a:gd name="T73" fmla="*/ 309279 h 2500"/>
              <a:gd name="T74" fmla="*/ 84311 w 2344"/>
              <a:gd name="T75" fmla="*/ 281195 h 2500"/>
              <a:gd name="T76" fmla="*/ 112775 w 2344"/>
              <a:gd name="T77" fmla="*/ 309279 h 2500"/>
              <a:gd name="T78" fmla="*/ 225189 w 2344"/>
              <a:gd name="T79" fmla="*/ 0 h 2500"/>
              <a:gd name="T80" fmla="*/ 84311 w 2344"/>
              <a:gd name="T81" fmla="*/ 225028 h 2500"/>
              <a:gd name="T82" fmla="*/ 0 w 2344"/>
              <a:gd name="T83" fmla="*/ 309279 h 2500"/>
              <a:gd name="T84" fmla="*/ 112775 w 2344"/>
              <a:gd name="T85" fmla="*/ 646641 h 2500"/>
              <a:gd name="T86" fmla="*/ 112775 w 2344"/>
              <a:gd name="T87" fmla="*/ 815502 h 2500"/>
              <a:gd name="T88" fmla="*/ 759879 w 2344"/>
              <a:gd name="T89" fmla="*/ 899753 h 2500"/>
              <a:gd name="T90" fmla="*/ 844190 w 2344"/>
              <a:gd name="T91" fmla="*/ 815502 h 2500"/>
              <a:gd name="T92" fmla="*/ 225189 w 2344"/>
              <a:gd name="T93" fmla="*/ 0 h 25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344" h="2500">
                <a:moveTo>
                  <a:pt x="2031" y="1328"/>
                </a:moveTo>
                <a:lnTo>
                  <a:pt x="1250" y="1328"/>
                </a:lnTo>
                <a:lnTo>
                  <a:pt x="1250" y="1172"/>
                </a:lnTo>
                <a:lnTo>
                  <a:pt x="2031" y="1172"/>
                </a:lnTo>
                <a:lnTo>
                  <a:pt x="2031" y="1328"/>
                </a:lnTo>
                <a:close/>
                <a:moveTo>
                  <a:pt x="2031" y="1953"/>
                </a:moveTo>
                <a:lnTo>
                  <a:pt x="1250" y="1953"/>
                </a:lnTo>
                <a:lnTo>
                  <a:pt x="1250" y="1796"/>
                </a:lnTo>
                <a:lnTo>
                  <a:pt x="2031" y="1796"/>
                </a:lnTo>
                <a:lnTo>
                  <a:pt x="2031" y="1953"/>
                </a:lnTo>
                <a:close/>
                <a:moveTo>
                  <a:pt x="1016" y="1015"/>
                </a:moveTo>
                <a:lnTo>
                  <a:pt x="1016" y="1015"/>
                </a:lnTo>
                <a:cubicBezTo>
                  <a:pt x="972" y="1015"/>
                  <a:pt x="938" y="980"/>
                  <a:pt x="938" y="937"/>
                </a:cubicBezTo>
                <a:cubicBezTo>
                  <a:pt x="938" y="893"/>
                  <a:pt x="972" y="859"/>
                  <a:pt x="1016" y="859"/>
                </a:cubicBezTo>
                <a:cubicBezTo>
                  <a:pt x="1059" y="859"/>
                  <a:pt x="1094" y="893"/>
                  <a:pt x="1094" y="937"/>
                </a:cubicBezTo>
                <a:cubicBezTo>
                  <a:pt x="1094" y="980"/>
                  <a:pt x="1059" y="1015"/>
                  <a:pt x="1016" y="1015"/>
                </a:cubicBezTo>
                <a:close/>
                <a:moveTo>
                  <a:pt x="1016" y="1328"/>
                </a:moveTo>
                <a:lnTo>
                  <a:pt x="1016" y="1328"/>
                </a:lnTo>
                <a:cubicBezTo>
                  <a:pt x="972" y="1328"/>
                  <a:pt x="938" y="1293"/>
                  <a:pt x="938" y="1249"/>
                </a:cubicBezTo>
                <a:cubicBezTo>
                  <a:pt x="938" y="1206"/>
                  <a:pt x="972" y="1172"/>
                  <a:pt x="1016" y="1172"/>
                </a:cubicBezTo>
                <a:cubicBezTo>
                  <a:pt x="1059" y="1172"/>
                  <a:pt x="1094" y="1206"/>
                  <a:pt x="1094" y="1249"/>
                </a:cubicBezTo>
                <a:cubicBezTo>
                  <a:pt x="1094" y="1293"/>
                  <a:pt x="1059" y="1328"/>
                  <a:pt x="1016" y="1328"/>
                </a:cubicBezTo>
                <a:close/>
                <a:moveTo>
                  <a:pt x="1016" y="1640"/>
                </a:moveTo>
                <a:lnTo>
                  <a:pt x="1016" y="1640"/>
                </a:lnTo>
                <a:cubicBezTo>
                  <a:pt x="972" y="1640"/>
                  <a:pt x="938" y="1605"/>
                  <a:pt x="938" y="1562"/>
                </a:cubicBezTo>
                <a:cubicBezTo>
                  <a:pt x="938" y="1519"/>
                  <a:pt x="972" y="1484"/>
                  <a:pt x="1016" y="1484"/>
                </a:cubicBezTo>
                <a:cubicBezTo>
                  <a:pt x="1059" y="1484"/>
                  <a:pt x="1094" y="1519"/>
                  <a:pt x="1094" y="1562"/>
                </a:cubicBezTo>
                <a:cubicBezTo>
                  <a:pt x="1094" y="1605"/>
                  <a:pt x="1059" y="1640"/>
                  <a:pt x="1016" y="1640"/>
                </a:cubicBezTo>
                <a:close/>
                <a:moveTo>
                  <a:pt x="1016" y="1953"/>
                </a:moveTo>
                <a:lnTo>
                  <a:pt x="1016" y="1953"/>
                </a:lnTo>
                <a:cubicBezTo>
                  <a:pt x="972" y="1953"/>
                  <a:pt x="938" y="1917"/>
                  <a:pt x="938" y="1874"/>
                </a:cubicBezTo>
                <a:cubicBezTo>
                  <a:pt x="938" y="1831"/>
                  <a:pt x="972" y="1796"/>
                  <a:pt x="1016" y="1796"/>
                </a:cubicBezTo>
                <a:cubicBezTo>
                  <a:pt x="1059" y="1796"/>
                  <a:pt x="1094" y="1831"/>
                  <a:pt x="1094" y="1874"/>
                </a:cubicBezTo>
                <a:cubicBezTo>
                  <a:pt x="1094" y="1917"/>
                  <a:pt x="1059" y="1953"/>
                  <a:pt x="1016" y="1953"/>
                </a:cubicBezTo>
                <a:close/>
                <a:moveTo>
                  <a:pt x="1250" y="1484"/>
                </a:moveTo>
                <a:lnTo>
                  <a:pt x="1718" y="1484"/>
                </a:lnTo>
                <a:lnTo>
                  <a:pt x="1718" y="1640"/>
                </a:lnTo>
                <a:lnTo>
                  <a:pt x="1250" y="1640"/>
                </a:lnTo>
                <a:lnTo>
                  <a:pt x="1250" y="1484"/>
                </a:lnTo>
                <a:close/>
                <a:moveTo>
                  <a:pt x="1250" y="859"/>
                </a:moveTo>
                <a:lnTo>
                  <a:pt x="1952" y="859"/>
                </a:lnTo>
                <a:lnTo>
                  <a:pt x="1952" y="1015"/>
                </a:lnTo>
                <a:lnTo>
                  <a:pt x="1250" y="1015"/>
                </a:lnTo>
                <a:lnTo>
                  <a:pt x="1250" y="859"/>
                </a:lnTo>
                <a:close/>
                <a:moveTo>
                  <a:pt x="1250" y="390"/>
                </a:moveTo>
                <a:lnTo>
                  <a:pt x="1796" y="390"/>
                </a:lnTo>
                <a:lnTo>
                  <a:pt x="1796" y="546"/>
                </a:lnTo>
                <a:lnTo>
                  <a:pt x="1250" y="546"/>
                </a:lnTo>
                <a:lnTo>
                  <a:pt x="1250" y="390"/>
                </a:lnTo>
                <a:close/>
                <a:moveTo>
                  <a:pt x="625" y="2265"/>
                </a:moveTo>
                <a:lnTo>
                  <a:pt x="625" y="2265"/>
                </a:lnTo>
                <a:cubicBezTo>
                  <a:pt x="625" y="2308"/>
                  <a:pt x="590" y="2343"/>
                  <a:pt x="547" y="2343"/>
                </a:cubicBezTo>
                <a:cubicBezTo>
                  <a:pt x="504" y="2343"/>
                  <a:pt x="469" y="2308"/>
                  <a:pt x="469" y="2265"/>
                </a:cubicBezTo>
                <a:lnTo>
                  <a:pt x="469" y="859"/>
                </a:lnTo>
                <a:cubicBezTo>
                  <a:pt x="469" y="831"/>
                  <a:pt x="463" y="806"/>
                  <a:pt x="454" y="781"/>
                </a:cubicBezTo>
                <a:lnTo>
                  <a:pt x="625" y="781"/>
                </a:lnTo>
                <a:lnTo>
                  <a:pt x="625" y="2265"/>
                </a:lnTo>
                <a:close/>
                <a:moveTo>
                  <a:pt x="313" y="1640"/>
                </a:moveTo>
                <a:lnTo>
                  <a:pt x="157" y="1640"/>
                </a:lnTo>
                <a:lnTo>
                  <a:pt x="157" y="859"/>
                </a:lnTo>
                <a:cubicBezTo>
                  <a:pt x="157" y="816"/>
                  <a:pt x="191" y="781"/>
                  <a:pt x="234" y="781"/>
                </a:cubicBezTo>
                <a:cubicBezTo>
                  <a:pt x="277" y="781"/>
                  <a:pt x="313" y="816"/>
                  <a:pt x="313" y="859"/>
                </a:cubicBezTo>
                <a:lnTo>
                  <a:pt x="313" y="1640"/>
                </a:lnTo>
                <a:close/>
                <a:moveTo>
                  <a:pt x="625" y="0"/>
                </a:moveTo>
                <a:lnTo>
                  <a:pt x="625" y="625"/>
                </a:lnTo>
                <a:lnTo>
                  <a:pt x="234" y="625"/>
                </a:lnTo>
                <a:cubicBezTo>
                  <a:pt x="105" y="625"/>
                  <a:pt x="0" y="730"/>
                  <a:pt x="0" y="859"/>
                </a:cubicBezTo>
                <a:lnTo>
                  <a:pt x="0" y="1796"/>
                </a:lnTo>
                <a:lnTo>
                  <a:pt x="313" y="1796"/>
                </a:lnTo>
                <a:lnTo>
                  <a:pt x="313" y="2265"/>
                </a:lnTo>
                <a:cubicBezTo>
                  <a:pt x="313" y="2394"/>
                  <a:pt x="418" y="2499"/>
                  <a:pt x="547" y="2499"/>
                </a:cubicBezTo>
                <a:lnTo>
                  <a:pt x="2109" y="2499"/>
                </a:lnTo>
                <a:cubicBezTo>
                  <a:pt x="2238" y="2499"/>
                  <a:pt x="2343" y="2394"/>
                  <a:pt x="2343" y="2265"/>
                </a:cubicBezTo>
                <a:lnTo>
                  <a:pt x="2343" y="0"/>
                </a:lnTo>
                <a:lnTo>
                  <a:pt x="625" y="0"/>
                </a:lnTo>
                <a:close/>
              </a:path>
            </a:pathLst>
          </a:custGeom>
          <a:solidFill>
            <a:schemeClr val="bg1"/>
          </a:solidFill>
          <a:ln>
            <a:noFill/>
          </a:ln>
          <a:effectLst/>
        </p:spPr>
        <p:txBody>
          <a:bodyPr wrap="none" anchor="ctr"/>
          <a:lstStyle/>
          <a:p>
            <a:endParaRPr lang="es-PE" sz="900" noProof="0" dirty="0">
              <a:latin typeface="Trebuchet MS" panose="020B0603020202020204" pitchFamily="34" charset="0"/>
            </a:endParaRPr>
          </a:p>
        </p:txBody>
      </p:sp>
      <p:sp>
        <p:nvSpPr>
          <p:cNvPr id="22" name="Freeform 89">
            <a:extLst>
              <a:ext uri="{FF2B5EF4-FFF2-40B4-BE49-F238E27FC236}">
                <a16:creationId xmlns:a16="http://schemas.microsoft.com/office/drawing/2014/main" id="{08CDA2FB-402C-30C8-5CE9-39A0FFEA786F}"/>
              </a:ext>
            </a:extLst>
          </p:cNvPr>
          <p:cNvSpPr>
            <a:spLocks noChangeArrowheads="1"/>
          </p:cNvSpPr>
          <p:nvPr/>
        </p:nvSpPr>
        <p:spPr bwMode="auto">
          <a:xfrm>
            <a:off x="6862929" y="4206947"/>
            <a:ext cx="505425" cy="345220"/>
          </a:xfrm>
          <a:custGeom>
            <a:avLst/>
            <a:gdLst>
              <a:gd name="T0" fmla="*/ 573956 w 901340"/>
              <a:gd name="T1" fmla="*/ 561975 h 674329"/>
              <a:gd name="T2" fmla="*/ 901340 w 901340"/>
              <a:gd name="T3" fmla="*/ 561975 h 674329"/>
              <a:gd name="T4" fmla="*/ 901340 w 901340"/>
              <a:gd name="T5" fmla="*/ 674329 h 674329"/>
              <a:gd name="T6" fmla="*/ 468313 w 901340"/>
              <a:gd name="T7" fmla="*/ 674329 h 674329"/>
              <a:gd name="T8" fmla="*/ 573956 w 901340"/>
              <a:gd name="T9" fmla="*/ 561975 h 674329"/>
              <a:gd name="T10" fmla="*/ 616811 w 901340"/>
              <a:gd name="T11" fmla="*/ 420688 h 674329"/>
              <a:gd name="T12" fmla="*/ 842604 w 901340"/>
              <a:gd name="T13" fmla="*/ 420688 h 674329"/>
              <a:gd name="T14" fmla="*/ 842604 w 901340"/>
              <a:gd name="T15" fmla="*/ 533040 h 674329"/>
              <a:gd name="T16" fmla="*/ 587375 w 901340"/>
              <a:gd name="T17" fmla="*/ 533040 h 674329"/>
              <a:gd name="T18" fmla="*/ 616811 w 901340"/>
              <a:gd name="T19" fmla="*/ 420688 h 674329"/>
              <a:gd name="T20" fmla="*/ 600075 w 901340"/>
              <a:gd name="T21" fmla="*/ 280988 h 674329"/>
              <a:gd name="T22" fmla="*/ 901339 w 901340"/>
              <a:gd name="T23" fmla="*/ 280988 h 674329"/>
              <a:gd name="T24" fmla="*/ 901339 w 901340"/>
              <a:gd name="T25" fmla="*/ 393341 h 674329"/>
              <a:gd name="T26" fmla="*/ 619919 w 901340"/>
              <a:gd name="T27" fmla="*/ 393341 h 674329"/>
              <a:gd name="T28" fmla="*/ 600075 w 901340"/>
              <a:gd name="T29" fmla="*/ 280988 h 674329"/>
              <a:gd name="T30" fmla="*/ 196799 w 901340"/>
              <a:gd name="T31" fmla="*/ 280982 h 674329"/>
              <a:gd name="T32" fmla="*/ 196799 w 901340"/>
              <a:gd name="T33" fmla="*/ 337072 h 674329"/>
              <a:gd name="T34" fmla="*/ 252925 w 901340"/>
              <a:gd name="T35" fmla="*/ 337072 h 674329"/>
              <a:gd name="T36" fmla="*/ 252925 w 901340"/>
              <a:gd name="T37" fmla="*/ 449611 h 674329"/>
              <a:gd name="T38" fmla="*/ 196799 w 901340"/>
              <a:gd name="T39" fmla="*/ 449611 h 674329"/>
              <a:gd name="T40" fmla="*/ 196799 w 901340"/>
              <a:gd name="T41" fmla="*/ 505700 h 674329"/>
              <a:gd name="T42" fmla="*/ 365176 w 901340"/>
              <a:gd name="T43" fmla="*/ 505700 h 674329"/>
              <a:gd name="T44" fmla="*/ 365176 w 901340"/>
              <a:gd name="T45" fmla="*/ 449611 h 674329"/>
              <a:gd name="T46" fmla="*/ 309051 w 901340"/>
              <a:gd name="T47" fmla="*/ 449611 h 674329"/>
              <a:gd name="T48" fmla="*/ 309051 w 901340"/>
              <a:gd name="T49" fmla="*/ 280982 h 674329"/>
              <a:gd name="T50" fmla="*/ 503238 w 901340"/>
              <a:gd name="T51" fmla="*/ 139700 h 674329"/>
              <a:gd name="T52" fmla="*/ 787040 w 901340"/>
              <a:gd name="T53" fmla="*/ 139700 h 674329"/>
              <a:gd name="T54" fmla="*/ 787040 w 901340"/>
              <a:gd name="T55" fmla="*/ 252053 h 674329"/>
              <a:gd name="T56" fmla="*/ 587154 w 901340"/>
              <a:gd name="T57" fmla="*/ 252053 h 674329"/>
              <a:gd name="T58" fmla="*/ 503238 w 901340"/>
              <a:gd name="T59" fmla="*/ 139700 h 674329"/>
              <a:gd name="T60" fmla="*/ 280988 w 901340"/>
              <a:gd name="T61" fmla="*/ 112713 h 674329"/>
              <a:gd name="T62" fmla="*/ 561615 w 901340"/>
              <a:gd name="T63" fmla="*/ 393521 h 674329"/>
              <a:gd name="T64" fmla="*/ 280988 w 901340"/>
              <a:gd name="T65" fmla="*/ 674329 h 674329"/>
              <a:gd name="T66" fmla="*/ 0 w 901340"/>
              <a:gd name="T67" fmla="*/ 393521 h 674329"/>
              <a:gd name="T68" fmla="*/ 280988 w 901340"/>
              <a:gd name="T69" fmla="*/ 112713 h 674329"/>
              <a:gd name="T70" fmla="*/ 282575 w 901340"/>
              <a:gd name="T71" fmla="*/ 0 h 674329"/>
              <a:gd name="T72" fmla="*/ 844190 w 901340"/>
              <a:gd name="T73" fmla="*/ 0 h 674329"/>
              <a:gd name="T74" fmla="*/ 844190 w 901340"/>
              <a:gd name="T75" fmla="*/ 112353 h 674329"/>
              <a:gd name="T76" fmla="*/ 468221 w 901340"/>
              <a:gd name="T77" fmla="*/ 112353 h 674329"/>
              <a:gd name="T78" fmla="*/ 282575 w 901340"/>
              <a:gd name="T79" fmla="*/ 55816 h 6743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901340" h="674329">
                <a:moveTo>
                  <a:pt x="573956" y="561975"/>
                </a:moveTo>
                <a:lnTo>
                  <a:pt x="901340" y="561975"/>
                </a:lnTo>
                <a:lnTo>
                  <a:pt x="901340" y="674329"/>
                </a:lnTo>
                <a:lnTo>
                  <a:pt x="468313" y="674329"/>
                </a:lnTo>
                <a:cubicBezTo>
                  <a:pt x="511940" y="645613"/>
                  <a:pt x="547996" y="607204"/>
                  <a:pt x="573956" y="561975"/>
                </a:cubicBezTo>
                <a:close/>
                <a:moveTo>
                  <a:pt x="616811" y="420688"/>
                </a:moveTo>
                <a:lnTo>
                  <a:pt x="842604" y="420688"/>
                </a:lnTo>
                <a:lnTo>
                  <a:pt x="842604" y="533040"/>
                </a:lnTo>
                <a:lnTo>
                  <a:pt x="587375" y="533040"/>
                </a:lnTo>
                <a:cubicBezTo>
                  <a:pt x="603529" y="498470"/>
                  <a:pt x="613580" y="460660"/>
                  <a:pt x="616811" y="420688"/>
                </a:cubicBezTo>
                <a:close/>
                <a:moveTo>
                  <a:pt x="600075" y="280988"/>
                </a:moveTo>
                <a:lnTo>
                  <a:pt x="901339" y="280988"/>
                </a:lnTo>
                <a:lnTo>
                  <a:pt x="901339" y="393341"/>
                </a:lnTo>
                <a:lnTo>
                  <a:pt x="619919" y="393341"/>
                </a:lnTo>
                <a:cubicBezTo>
                  <a:pt x="619919" y="353856"/>
                  <a:pt x="612703" y="316166"/>
                  <a:pt x="600075" y="280988"/>
                </a:cubicBezTo>
                <a:close/>
                <a:moveTo>
                  <a:pt x="196799" y="280982"/>
                </a:moveTo>
                <a:lnTo>
                  <a:pt x="196799" y="337072"/>
                </a:lnTo>
                <a:lnTo>
                  <a:pt x="252925" y="337072"/>
                </a:lnTo>
                <a:lnTo>
                  <a:pt x="252925" y="449611"/>
                </a:lnTo>
                <a:lnTo>
                  <a:pt x="196799" y="449611"/>
                </a:lnTo>
                <a:lnTo>
                  <a:pt x="196799" y="505700"/>
                </a:lnTo>
                <a:lnTo>
                  <a:pt x="365176" y="505700"/>
                </a:lnTo>
                <a:lnTo>
                  <a:pt x="365176" y="449611"/>
                </a:lnTo>
                <a:lnTo>
                  <a:pt x="309051" y="449611"/>
                </a:lnTo>
                <a:lnTo>
                  <a:pt x="309051" y="280982"/>
                </a:lnTo>
                <a:lnTo>
                  <a:pt x="196799" y="280982"/>
                </a:lnTo>
                <a:close/>
                <a:moveTo>
                  <a:pt x="503238" y="139700"/>
                </a:moveTo>
                <a:lnTo>
                  <a:pt x="787040" y="139700"/>
                </a:lnTo>
                <a:lnTo>
                  <a:pt x="787040" y="252053"/>
                </a:lnTo>
                <a:lnTo>
                  <a:pt x="587154" y="252053"/>
                </a:lnTo>
                <a:cubicBezTo>
                  <a:pt x="567346" y="208840"/>
                  <a:pt x="538894" y="170669"/>
                  <a:pt x="503238" y="139700"/>
                </a:cubicBezTo>
                <a:close/>
                <a:moveTo>
                  <a:pt x="280988" y="112713"/>
                </a:moveTo>
                <a:cubicBezTo>
                  <a:pt x="436053" y="112713"/>
                  <a:pt x="561615" y="238555"/>
                  <a:pt x="561615" y="393521"/>
                </a:cubicBezTo>
                <a:cubicBezTo>
                  <a:pt x="561615" y="548487"/>
                  <a:pt x="436053" y="674329"/>
                  <a:pt x="280988" y="674329"/>
                </a:cubicBezTo>
                <a:cubicBezTo>
                  <a:pt x="125923" y="674329"/>
                  <a:pt x="0" y="548487"/>
                  <a:pt x="0" y="393521"/>
                </a:cubicBezTo>
                <a:cubicBezTo>
                  <a:pt x="0" y="238555"/>
                  <a:pt x="125923" y="112713"/>
                  <a:pt x="280988" y="112713"/>
                </a:cubicBezTo>
                <a:close/>
                <a:moveTo>
                  <a:pt x="282575" y="0"/>
                </a:moveTo>
                <a:lnTo>
                  <a:pt x="844190" y="0"/>
                </a:lnTo>
                <a:lnTo>
                  <a:pt x="844190" y="112353"/>
                </a:lnTo>
                <a:lnTo>
                  <a:pt x="468221" y="112353"/>
                </a:lnTo>
                <a:cubicBezTo>
                  <a:pt x="415694" y="76702"/>
                  <a:pt x="351293" y="55816"/>
                  <a:pt x="282575" y="55816"/>
                </a:cubicBezTo>
                <a:lnTo>
                  <a:pt x="282575" y="0"/>
                </a:lnTo>
                <a:close/>
              </a:path>
            </a:pathLst>
          </a:custGeom>
          <a:solidFill>
            <a:schemeClr val="bg1"/>
          </a:solidFill>
          <a:ln>
            <a:noFill/>
          </a:ln>
          <a:effectLst/>
        </p:spPr>
        <p:txBody>
          <a:bodyPr anchor="ctr"/>
          <a:lstStyle/>
          <a:p>
            <a:endParaRPr lang="es-PE" sz="900" noProof="0" dirty="0">
              <a:latin typeface="Trebuchet MS" panose="020B0603020202020204" pitchFamily="34" charset="0"/>
            </a:endParaRPr>
          </a:p>
        </p:txBody>
      </p:sp>
      <p:sp>
        <p:nvSpPr>
          <p:cNvPr id="23" name="Freeform 85">
            <a:extLst>
              <a:ext uri="{FF2B5EF4-FFF2-40B4-BE49-F238E27FC236}">
                <a16:creationId xmlns:a16="http://schemas.microsoft.com/office/drawing/2014/main" id="{31B0846B-D278-9938-66A1-3115406A51AE}"/>
              </a:ext>
            </a:extLst>
          </p:cNvPr>
          <p:cNvSpPr>
            <a:spLocks noChangeArrowheads="1"/>
          </p:cNvSpPr>
          <p:nvPr/>
        </p:nvSpPr>
        <p:spPr bwMode="auto">
          <a:xfrm>
            <a:off x="4587624" y="4149276"/>
            <a:ext cx="504534" cy="460565"/>
          </a:xfrm>
          <a:custGeom>
            <a:avLst/>
            <a:gdLst>
              <a:gd name="T0" fmla="*/ 422275 w 899752"/>
              <a:gd name="T1" fmla="*/ 280988 h 899754"/>
              <a:gd name="T2" fmla="*/ 534627 w 899752"/>
              <a:gd name="T3" fmla="*/ 365919 h 899754"/>
              <a:gd name="T4" fmla="*/ 422275 w 899752"/>
              <a:gd name="T5" fmla="*/ 450489 h 899754"/>
              <a:gd name="T6" fmla="*/ 57150 w 899752"/>
              <a:gd name="T7" fmla="*/ 225425 h 899754"/>
              <a:gd name="T8" fmla="*/ 113290 w 899752"/>
              <a:gd name="T9" fmla="*/ 225425 h 899754"/>
              <a:gd name="T10" fmla="*/ 113290 w 899752"/>
              <a:gd name="T11" fmla="*/ 562409 h 899754"/>
              <a:gd name="T12" fmla="*/ 422420 w 899752"/>
              <a:gd name="T13" fmla="*/ 562409 h 899754"/>
              <a:gd name="T14" fmla="*/ 478560 w 899752"/>
              <a:gd name="T15" fmla="*/ 562409 h 899754"/>
              <a:gd name="T16" fmla="*/ 787690 w 899752"/>
              <a:gd name="T17" fmla="*/ 562409 h 899754"/>
              <a:gd name="T18" fmla="*/ 787690 w 899752"/>
              <a:gd name="T19" fmla="*/ 225425 h 899754"/>
              <a:gd name="T20" fmla="*/ 844190 w 899752"/>
              <a:gd name="T21" fmla="*/ 225425 h 899754"/>
              <a:gd name="T22" fmla="*/ 844190 w 899752"/>
              <a:gd name="T23" fmla="*/ 618873 h 899754"/>
              <a:gd name="T24" fmla="*/ 478560 w 899752"/>
              <a:gd name="T25" fmla="*/ 618873 h 899754"/>
              <a:gd name="T26" fmla="*/ 478560 w 899752"/>
              <a:gd name="T27" fmla="*/ 803729 h 899754"/>
              <a:gd name="T28" fmla="*/ 490436 w 899752"/>
              <a:gd name="T29" fmla="*/ 815597 h 899754"/>
              <a:gd name="T30" fmla="*/ 518146 w 899752"/>
              <a:gd name="T31" fmla="*/ 843649 h 899754"/>
              <a:gd name="T32" fmla="*/ 590840 w 899752"/>
              <a:gd name="T33" fmla="*/ 843649 h 899754"/>
              <a:gd name="T34" fmla="*/ 590840 w 899752"/>
              <a:gd name="T35" fmla="*/ 899754 h 899754"/>
              <a:gd name="T36" fmla="*/ 495114 w 899752"/>
              <a:gd name="T37" fmla="*/ 899754 h 899754"/>
              <a:gd name="T38" fmla="*/ 450490 w 899752"/>
              <a:gd name="T39" fmla="*/ 855158 h 899754"/>
              <a:gd name="T40" fmla="*/ 405866 w 899752"/>
              <a:gd name="T41" fmla="*/ 899754 h 899754"/>
              <a:gd name="T42" fmla="*/ 309780 w 899752"/>
              <a:gd name="T43" fmla="*/ 899754 h 899754"/>
              <a:gd name="T44" fmla="*/ 309780 w 899752"/>
              <a:gd name="T45" fmla="*/ 843649 h 899754"/>
              <a:gd name="T46" fmla="*/ 382475 w 899752"/>
              <a:gd name="T47" fmla="*/ 843649 h 899754"/>
              <a:gd name="T48" fmla="*/ 410904 w 899752"/>
              <a:gd name="T49" fmla="*/ 815597 h 899754"/>
              <a:gd name="T50" fmla="*/ 422420 w 899752"/>
              <a:gd name="T51" fmla="*/ 803729 h 899754"/>
              <a:gd name="T52" fmla="*/ 422420 w 899752"/>
              <a:gd name="T53" fmla="*/ 618873 h 899754"/>
              <a:gd name="T54" fmla="*/ 57150 w 899752"/>
              <a:gd name="T55" fmla="*/ 618873 h 899754"/>
              <a:gd name="T56" fmla="*/ 421804 w 899752"/>
              <a:gd name="T57" fmla="*/ 0 h 899754"/>
              <a:gd name="T58" fmla="*/ 477949 w 899752"/>
              <a:gd name="T59" fmla="*/ 0 h 899754"/>
              <a:gd name="T60" fmla="*/ 477949 w 899752"/>
              <a:gd name="T61" fmla="*/ 56380 h 899754"/>
              <a:gd name="T62" fmla="*/ 899752 w 899752"/>
              <a:gd name="T63" fmla="*/ 56380 h 899754"/>
              <a:gd name="T64" fmla="*/ 899752 w 899752"/>
              <a:gd name="T65" fmla="*/ 169501 h 899754"/>
              <a:gd name="T66" fmla="*/ 0 w 899752"/>
              <a:gd name="T67" fmla="*/ 169501 h 899754"/>
              <a:gd name="T68" fmla="*/ 0 w 899752"/>
              <a:gd name="T69" fmla="*/ 56380 h 899754"/>
              <a:gd name="T70" fmla="*/ 421804 w 899752"/>
              <a:gd name="T71" fmla="*/ 56380 h 89975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899752" h="899754">
                <a:moveTo>
                  <a:pt x="422275" y="280988"/>
                </a:moveTo>
                <a:lnTo>
                  <a:pt x="534627" y="365919"/>
                </a:lnTo>
                <a:lnTo>
                  <a:pt x="422275" y="450489"/>
                </a:lnTo>
                <a:lnTo>
                  <a:pt x="422275" y="280988"/>
                </a:lnTo>
                <a:close/>
                <a:moveTo>
                  <a:pt x="57150" y="225425"/>
                </a:moveTo>
                <a:lnTo>
                  <a:pt x="113290" y="225425"/>
                </a:lnTo>
                <a:lnTo>
                  <a:pt x="113290" y="562409"/>
                </a:lnTo>
                <a:lnTo>
                  <a:pt x="422420" y="562409"/>
                </a:lnTo>
                <a:lnTo>
                  <a:pt x="478560" y="562409"/>
                </a:lnTo>
                <a:lnTo>
                  <a:pt x="787690" y="562409"/>
                </a:lnTo>
                <a:lnTo>
                  <a:pt x="787690" y="225425"/>
                </a:lnTo>
                <a:lnTo>
                  <a:pt x="844190" y="225425"/>
                </a:lnTo>
                <a:lnTo>
                  <a:pt x="844190" y="618873"/>
                </a:lnTo>
                <a:lnTo>
                  <a:pt x="478560" y="618873"/>
                </a:lnTo>
                <a:lnTo>
                  <a:pt x="478560" y="803729"/>
                </a:lnTo>
                <a:lnTo>
                  <a:pt x="490436" y="815597"/>
                </a:lnTo>
                <a:lnTo>
                  <a:pt x="518146" y="843649"/>
                </a:lnTo>
                <a:lnTo>
                  <a:pt x="590840" y="843649"/>
                </a:lnTo>
                <a:lnTo>
                  <a:pt x="590840" y="899754"/>
                </a:lnTo>
                <a:lnTo>
                  <a:pt x="495114" y="899754"/>
                </a:lnTo>
                <a:lnTo>
                  <a:pt x="450490" y="855158"/>
                </a:lnTo>
                <a:lnTo>
                  <a:pt x="405866" y="899754"/>
                </a:lnTo>
                <a:lnTo>
                  <a:pt x="309780" y="899754"/>
                </a:lnTo>
                <a:lnTo>
                  <a:pt x="309780" y="843649"/>
                </a:lnTo>
                <a:lnTo>
                  <a:pt x="382475" y="843649"/>
                </a:lnTo>
                <a:lnTo>
                  <a:pt x="410904" y="815597"/>
                </a:lnTo>
                <a:lnTo>
                  <a:pt x="422420" y="803729"/>
                </a:lnTo>
                <a:lnTo>
                  <a:pt x="422420" y="618873"/>
                </a:lnTo>
                <a:lnTo>
                  <a:pt x="57150" y="618873"/>
                </a:lnTo>
                <a:lnTo>
                  <a:pt x="57150" y="225425"/>
                </a:lnTo>
                <a:close/>
                <a:moveTo>
                  <a:pt x="421804" y="0"/>
                </a:moveTo>
                <a:lnTo>
                  <a:pt x="477949" y="0"/>
                </a:lnTo>
                <a:lnTo>
                  <a:pt x="477949" y="56380"/>
                </a:lnTo>
                <a:lnTo>
                  <a:pt x="899752" y="56380"/>
                </a:lnTo>
                <a:lnTo>
                  <a:pt x="899752" y="169501"/>
                </a:lnTo>
                <a:lnTo>
                  <a:pt x="0" y="169501"/>
                </a:lnTo>
                <a:lnTo>
                  <a:pt x="0" y="56380"/>
                </a:lnTo>
                <a:lnTo>
                  <a:pt x="421804" y="56380"/>
                </a:lnTo>
                <a:lnTo>
                  <a:pt x="421804" y="0"/>
                </a:lnTo>
                <a:close/>
              </a:path>
            </a:pathLst>
          </a:custGeom>
          <a:solidFill>
            <a:schemeClr val="bg1"/>
          </a:solidFill>
          <a:ln>
            <a:noFill/>
          </a:ln>
          <a:effectLst/>
        </p:spPr>
        <p:txBody>
          <a:bodyPr anchor="ctr"/>
          <a:lstStyle/>
          <a:p>
            <a:endParaRPr lang="es-PE" sz="900" noProof="0" dirty="0">
              <a:latin typeface="Trebuchet MS" panose="020B0603020202020204" pitchFamily="34" charset="0"/>
            </a:endParaRPr>
          </a:p>
        </p:txBody>
      </p:sp>
      <p:sp>
        <p:nvSpPr>
          <p:cNvPr id="24" name="Freeform 94">
            <a:extLst>
              <a:ext uri="{FF2B5EF4-FFF2-40B4-BE49-F238E27FC236}">
                <a16:creationId xmlns:a16="http://schemas.microsoft.com/office/drawing/2014/main" id="{C3450BF6-61A8-5487-5FB6-80004A7E5E78}"/>
              </a:ext>
            </a:extLst>
          </p:cNvPr>
          <p:cNvSpPr>
            <a:spLocks noChangeArrowheads="1"/>
          </p:cNvSpPr>
          <p:nvPr/>
        </p:nvSpPr>
        <p:spPr bwMode="auto">
          <a:xfrm>
            <a:off x="7987370" y="3062688"/>
            <a:ext cx="504534" cy="431322"/>
          </a:xfrm>
          <a:custGeom>
            <a:avLst/>
            <a:gdLst>
              <a:gd name="T0" fmla="*/ 674995 w 899753"/>
              <a:gd name="T1" fmla="*/ 392910 h 842603"/>
              <a:gd name="T2" fmla="*/ 646900 w 899753"/>
              <a:gd name="T3" fmla="*/ 420634 h 842603"/>
              <a:gd name="T4" fmla="*/ 674995 w 899753"/>
              <a:gd name="T5" fmla="*/ 449077 h 842603"/>
              <a:gd name="T6" fmla="*/ 703090 w 899753"/>
              <a:gd name="T7" fmla="*/ 420634 h 842603"/>
              <a:gd name="T8" fmla="*/ 674995 w 899753"/>
              <a:gd name="T9" fmla="*/ 392910 h 842603"/>
              <a:gd name="T10" fmla="*/ 707817 w 899753"/>
              <a:gd name="T11" fmla="*/ 223915 h 842603"/>
              <a:gd name="T12" fmla="*/ 744151 w 899753"/>
              <a:gd name="T13" fmla="*/ 229091 h 842603"/>
              <a:gd name="T14" fmla="*/ 756398 w 899753"/>
              <a:gd name="T15" fmla="*/ 277337 h 842603"/>
              <a:gd name="T16" fmla="*/ 712815 w 899753"/>
              <a:gd name="T17" fmla="*/ 345745 h 842603"/>
              <a:gd name="T18" fmla="*/ 897232 w 899753"/>
              <a:gd name="T19" fmla="*/ 420634 h 842603"/>
              <a:gd name="T20" fmla="*/ 899753 w 899753"/>
              <a:gd name="T21" fmla="*/ 420634 h 842603"/>
              <a:gd name="T22" fmla="*/ 899753 w 899753"/>
              <a:gd name="T23" fmla="*/ 533327 h 842603"/>
              <a:gd name="T24" fmla="*/ 693004 w 899753"/>
              <a:gd name="T25" fmla="*/ 715148 h 842603"/>
              <a:gd name="T26" fmla="*/ 646900 w 899753"/>
              <a:gd name="T27" fmla="*/ 741431 h 842603"/>
              <a:gd name="T28" fmla="*/ 618805 w 899753"/>
              <a:gd name="T29" fmla="*/ 674103 h 842603"/>
              <a:gd name="T30" fmla="*/ 618805 w 899753"/>
              <a:gd name="T31" fmla="*/ 758353 h 842603"/>
              <a:gd name="T32" fmla="*/ 618805 w 899753"/>
              <a:gd name="T33" fmla="*/ 786437 h 842603"/>
              <a:gd name="T34" fmla="*/ 618805 w 899753"/>
              <a:gd name="T35" fmla="*/ 842603 h 842603"/>
              <a:gd name="T36" fmla="*/ 534161 w 899753"/>
              <a:gd name="T37" fmla="*/ 842603 h 842603"/>
              <a:gd name="T38" fmla="*/ 477971 w 899753"/>
              <a:gd name="T39" fmla="*/ 758353 h 842603"/>
              <a:gd name="T40" fmla="*/ 365592 w 899753"/>
              <a:gd name="T41" fmla="*/ 758353 h 842603"/>
              <a:gd name="T42" fmla="*/ 394047 w 899753"/>
              <a:gd name="T43" fmla="*/ 674103 h 842603"/>
              <a:gd name="T44" fmla="*/ 394047 w 899753"/>
              <a:gd name="T45" fmla="*/ 645660 h 842603"/>
              <a:gd name="T46" fmla="*/ 281308 w 899753"/>
              <a:gd name="T47" fmla="*/ 758353 h 842603"/>
              <a:gd name="T48" fmla="*/ 281308 w 899753"/>
              <a:gd name="T49" fmla="*/ 786437 h 842603"/>
              <a:gd name="T50" fmla="*/ 281308 w 899753"/>
              <a:gd name="T51" fmla="*/ 842603 h 842603"/>
              <a:gd name="T52" fmla="*/ 197024 w 899753"/>
              <a:gd name="T53" fmla="*/ 842603 h 842603"/>
              <a:gd name="T54" fmla="*/ 111659 w 899753"/>
              <a:gd name="T55" fmla="*/ 705787 h 842603"/>
              <a:gd name="T56" fmla="*/ 56910 w 899753"/>
              <a:gd name="T57" fmla="*/ 532967 h 842603"/>
              <a:gd name="T58" fmla="*/ 56190 w 899753"/>
              <a:gd name="T59" fmla="*/ 533327 h 842603"/>
              <a:gd name="T60" fmla="*/ 0 w 899753"/>
              <a:gd name="T61" fmla="*/ 477160 h 842603"/>
              <a:gd name="T62" fmla="*/ 56190 w 899753"/>
              <a:gd name="T63" fmla="*/ 420634 h 842603"/>
              <a:gd name="T64" fmla="*/ 70958 w 899753"/>
              <a:gd name="T65" fmla="*/ 422794 h 842603"/>
              <a:gd name="T66" fmla="*/ 280227 w 899753"/>
              <a:gd name="T67" fmla="*/ 231251 h 842603"/>
              <a:gd name="T68" fmla="*/ 346142 w 899753"/>
              <a:gd name="T69" fmla="*/ 224050 h 842603"/>
              <a:gd name="T70" fmla="*/ 422502 w 899753"/>
              <a:gd name="T71" fmla="*/ 224050 h 842603"/>
              <a:gd name="T72" fmla="*/ 566938 w 899753"/>
              <a:gd name="T73" fmla="*/ 251054 h 842603"/>
              <a:gd name="T74" fmla="*/ 534161 w 899753"/>
              <a:gd name="T75" fmla="*/ 392910 h 842603"/>
              <a:gd name="T76" fmla="*/ 593232 w 899753"/>
              <a:gd name="T77" fmla="*/ 264375 h 842603"/>
              <a:gd name="T78" fmla="*/ 671753 w 899753"/>
              <a:gd name="T79" fmla="*/ 226571 h 842603"/>
              <a:gd name="T80" fmla="*/ 707817 w 899753"/>
              <a:gd name="T81" fmla="*/ 223915 h 842603"/>
              <a:gd name="T82" fmla="*/ 366713 w 899753"/>
              <a:gd name="T83" fmla="*/ 112713 h 842603"/>
              <a:gd name="T84" fmla="*/ 423502 w 899753"/>
              <a:gd name="T85" fmla="*/ 112713 h 842603"/>
              <a:gd name="T86" fmla="*/ 423502 w 899753"/>
              <a:gd name="T87" fmla="*/ 198075 h 842603"/>
              <a:gd name="T88" fmla="*/ 366713 w 899753"/>
              <a:gd name="T89" fmla="*/ 198075 h 842603"/>
              <a:gd name="T90" fmla="*/ 393880 w 899753"/>
              <a:gd name="T91" fmla="*/ 0 h 842603"/>
              <a:gd name="T92" fmla="*/ 561616 w 899753"/>
              <a:gd name="T93" fmla="*/ 167961 h 842603"/>
              <a:gd name="T94" fmla="*/ 554432 w 899753"/>
              <a:gd name="T95" fmla="*/ 217129 h 842603"/>
              <a:gd name="T96" fmla="*/ 499119 w 899753"/>
              <a:gd name="T97" fmla="*/ 203491 h 842603"/>
              <a:gd name="T98" fmla="*/ 505584 w 899753"/>
              <a:gd name="T99" fmla="*/ 167961 h 842603"/>
              <a:gd name="T100" fmla="*/ 393880 w 899753"/>
              <a:gd name="T101" fmla="*/ 55987 h 842603"/>
              <a:gd name="T102" fmla="*/ 281457 w 899753"/>
              <a:gd name="T103" fmla="*/ 167961 h 842603"/>
              <a:gd name="T104" fmla="*/ 287204 w 899753"/>
              <a:gd name="T105" fmla="*/ 201697 h 842603"/>
              <a:gd name="T106" fmla="*/ 232609 w 899753"/>
              <a:gd name="T107" fmla="*/ 217129 h 842603"/>
              <a:gd name="T108" fmla="*/ 225425 w 899753"/>
              <a:gd name="T109" fmla="*/ 167961 h 842603"/>
              <a:gd name="T110" fmla="*/ 393880 w 899753"/>
              <a:gd name="T111" fmla="*/ 0 h 84260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899753" h="842603">
                <a:moveTo>
                  <a:pt x="674995" y="392910"/>
                </a:moveTo>
                <a:cubicBezTo>
                  <a:pt x="659147" y="392910"/>
                  <a:pt x="646900" y="405152"/>
                  <a:pt x="646900" y="420634"/>
                </a:cubicBezTo>
                <a:cubicBezTo>
                  <a:pt x="646900" y="436475"/>
                  <a:pt x="659147" y="449077"/>
                  <a:pt x="674995" y="449077"/>
                </a:cubicBezTo>
                <a:cubicBezTo>
                  <a:pt x="690483" y="449077"/>
                  <a:pt x="703090" y="436475"/>
                  <a:pt x="703090" y="420634"/>
                </a:cubicBezTo>
                <a:cubicBezTo>
                  <a:pt x="703090" y="405152"/>
                  <a:pt x="690483" y="392910"/>
                  <a:pt x="674995" y="392910"/>
                </a:cubicBezTo>
                <a:close/>
                <a:moveTo>
                  <a:pt x="707817" y="223915"/>
                </a:moveTo>
                <a:cubicBezTo>
                  <a:pt x="719929" y="224321"/>
                  <a:pt x="732085" y="226031"/>
                  <a:pt x="744151" y="229091"/>
                </a:cubicBezTo>
                <a:lnTo>
                  <a:pt x="756398" y="277337"/>
                </a:lnTo>
                <a:cubicBezTo>
                  <a:pt x="735507" y="296059"/>
                  <a:pt x="720739" y="319822"/>
                  <a:pt x="712815" y="345745"/>
                </a:cubicBezTo>
                <a:cubicBezTo>
                  <a:pt x="763241" y="392910"/>
                  <a:pt x="828075" y="420634"/>
                  <a:pt x="897232" y="420634"/>
                </a:cubicBezTo>
                <a:lnTo>
                  <a:pt x="899753" y="420634"/>
                </a:lnTo>
                <a:lnTo>
                  <a:pt x="899753" y="533327"/>
                </a:lnTo>
                <a:cubicBezTo>
                  <a:pt x="844284" y="607496"/>
                  <a:pt x="773687" y="669423"/>
                  <a:pt x="693004" y="715148"/>
                </a:cubicBezTo>
                <a:lnTo>
                  <a:pt x="646900" y="741431"/>
                </a:lnTo>
                <a:lnTo>
                  <a:pt x="618805" y="674103"/>
                </a:lnTo>
                <a:lnTo>
                  <a:pt x="618805" y="758353"/>
                </a:lnTo>
                <a:lnTo>
                  <a:pt x="618805" y="786437"/>
                </a:lnTo>
                <a:lnTo>
                  <a:pt x="618805" y="842603"/>
                </a:lnTo>
                <a:lnTo>
                  <a:pt x="534161" y="842603"/>
                </a:lnTo>
                <a:lnTo>
                  <a:pt x="477971" y="758353"/>
                </a:lnTo>
                <a:lnTo>
                  <a:pt x="365592" y="758353"/>
                </a:lnTo>
                <a:cubicBezTo>
                  <a:pt x="389365" y="737471"/>
                  <a:pt x="394047" y="707587"/>
                  <a:pt x="394047" y="674103"/>
                </a:cubicBezTo>
                <a:lnTo>
                  <a:pt x="394047" y="645660"/>
                </a:lnTo>
                <a:cubicBezTo>
                  <a:pt x="394047" y="692466"/>
                  <a:pt x="327772" y="758353"/>
                  <a:pt x="281308" y="758353"/>
                </a:cubicBezTo>
                <a:lnTo>
                  <a:pt x="281308" y="786437"/>
                </a:lnTo>
                <a:lnTo>
                  <a:pt x="281308" y="842603"/>
                </a:lnTo>
                <a:lnTo>
                  <a:pt x="197024" y="842603"/>
                </a:lnTo>
                <a:lnTo>
                  <a:pt x="111659" y="705787"/>
                </a:lnTo>
                <a:cubicBezTo>
                  <a:pt x="78882" y="653941"/>
                  <a:pt x="60152" y="594534"/>
                  <a:pt x="56910" y="532967"/>
                </a:cubicBezTo>
                <a:cubicBezTo>
                  <a:pt x="56550" y="533327"/>
                  <a:pt x="56550" y="533327"/>
                  <a:pt x="56190" y="533327"/>
                </a:cubicBezTo>
                <a:cubicBezTo>
                  <a:pt x="25213" y="533327"/>
                  <a:pt x="0" y="508124"/>
                  <a:pt x="0" y="477160"/>
                </a:cubicBezTo>
                <a:cubicBezTo>
                  <a:pt x="0" y="445837"/>
                  <a:pt x="25213" y="420634"/>
                  <a:pt x="56190" y="420634"/>
                </a:cubicBezTo>
                <a:cubicBezTo>
                  <a:pt x="61232" y="420634"/>
                  <a:pt x="66275" y="421714"/>
                  <a:pt x="70958" y="422794"/>
                </a:cubicBezTo>
                <a:cubicBezTo>
                  <a:pt x="101213" y="331343"/>
                  <a:pt x="176493" y="256454"/>
                  <a:pt x="280227" y="231251"/>
                </a:cubicBezTo>
                <a:cubicBezTo>
                  <a:pt x="301839" y="225851"/>
                  <a:pt x="323810" y="224050"/>
                  <a:pt x="346142" y="224050"/>
                </a:cubicBezTo>
                <a:lnTo>
                  <a:pt x="422502" y="224050"/>
                </a:lnTo>
                <a:cubicBezTo>
                  <a:pt x="472208" y="224050"/>
                  <a:pt x="521194" y="233412"/>
                  <a:pt x="566938" y="251054"/>
                </a:cubicBezTo>
                <a:cubicBezTo>
                  <a:pt x="529478" y="287058"/>
                  <a:pt x="520834" y="330263"/>
                  <a:pt x="534161" y="392910"/>
                </a:cubicBezTo>
                <a:cubicBezTo>
                  <a:pt x="534161" y="340344"/>
                  <a:pt x="556132" y="295339"/>
                  <a:pt x="593232" y="264375"/>
                </a:cubicBezTo>
                <a:cubicBezTo>
                  <a:pt x="615204" y="245653"/>
                  <a:pt x="641497" y="232331"/>
                  <a:pt x="671753" y="226571"/>
                </a:cubicBezTo>
                <a:cubicBezTo>
                  <a:pt x="683639" y="224411"/>
                  <a:pt x="695706" y="223510"/>
                  <a:pt x="707817" y="223915"/>
                </a:cubicBezTo>
                <a:close/>
                <a:moveTo>
                  <a:pt x="366713" y="112713"/>
                </a:moveTo>
                <a:lnTo>
                  <a:pt x="423502" y="112713"/>
                </a:lnTo>
                <a:lnTo>
                  <a:pt x="423502" y="198075"/>
                </a:lnTo>
                <a:lnTo>
                  <a:pt x="366713" y="198075"/>
                </a:lnTo>
                <a:lnTo>
                  <a:pt x="366713" y="112713"/>
                </a:lnTo>
                <a:close/>
                <a:moveTo>
                  <a:pt x="393880" y="0"/>
                </a:moveTo>
                <a:cubicBezTo>
                  <a:pt x="486189" y="0"/>
                  <a:pt x="561616" y="75008"/>
                  <a:pt x="561616" y="167961"/>
                </a:cubicBezTo>
                <a:cubicBezTo>
                  <a:pt x="561616" y="185188"/>
                  <a:pt x="559102" y="201338"/>
                  <a:pt x="554432" y="217129"/>
                </a:cubicBezTo>
                <a:cubicBezTo>
                  <a:pt x="536474" y="211028"/>
                  <a:pt x="518155" y="206721"/>
                  <a:pt x="499119" y="203491"/>
                </a:cubicBezTo>
                <a:cubicBezTo>
                  <a:pt x="503070" y="192365"/>
                  <a:pt x="505584" y="180522"/>
                  <a:pt x="505584" y="167961"/>
                </a:cubicBezTo>
                <a:cubicBezTo>
                  <a:pt x="505584" y="106232"/>
                  <a:pt x="455299" y="55987"/>
                  <a:pt x="393880" y="55987"/>
                </a:cubicBezTo>
                <a:cubicBezTo>
                  <a:pt x="331742" y="55987"/>
                  <a:pt x="281457" y="106232"/>
                  <a:pt x="281457" y="167961"/>
                </a:cubicBezTo>
                <a:cubicBezTo>
                  <a:pt x="281457" y="179804"/>
                  <a:pt x="283971" y="190930"/>
                  <a:pt x="287204" y="201697"/>
                </a:cubicBezTo>
                <a:cubicBezTo>
                  <a:pt x="268527" y="205285"/>
                  <a:pt x="250209" y="210669"/>
                  <a:pt x="232609" y="217129"/>
                </a:cubicBezTo>
                <a:cubicBezTo>
                  <a:pt x="227939" y="201697"/>
                  <a:pt x="225425" y="185188"/>
                  <a:pt x="225425" y="167961"/>
                </a:cubicBezTo>
                <a:cubicBezTo>
                  <a:pt x="225425" y="75008"/>
                  <a:pt x="300853" y="0"/>
                  <a:pt x="393880" y="0"/>
                </a:cubicBezTo>
                <a:close/>
              </a:path>
            </a:pathLst>
          </a:custGeom>
          <a:solidFill>
            <a:schemeClr val="bg1"/>
          </a:solidFill>
          <a:ln>
            <a:noFill/>
          </a:ln>
          <a:effectLst/>
        </p:spPr>
        <p:txBody>
          <a:bodyPr anchor="ctr"/>
          <a:lstStyle/>
          <a:p>
            <a:endParaRPr lang="es-PE" sz="900" noProof="0" dirty="0">
              <a:latin typeface="Trebuchet MS" panose="020B0603020202020204" pitchFamily="34" charset="0"/>
            </a:endParaRPr>
          </a:p>
        </p:txBody>
      </p:sp>
      <p:sp>
        <p:nvSpPr>
          <p:cNvPr id="25" name="TextBox 55">
            <a:extLst>
              <a:ext uri="{FF2B5EF4-FFF2-40B4-BE49-F238E27FC236}">
                <a16:creationId xmlns:a16="http://schemas.microsoft.com/office/drawing/2014/main" id="{5F623791-BF18-AE9D-F234-6F7CE1A52844}"/>
              </a:ext>
            </a:extLst>
          </p:cNvPr>
          <p:cNvSpPr txBox="1"/>
          <p:nvPr/>
        </p:nvSpPr>
        <p:spPr>
          <a:xfrm>
            <a:off x="8491904" y="5290216"/>
            <a:ext cx="2174347" cy="748475"/>
          </a:xfrm>
          <a:prstGeom prst="rect">
            <a:avLst/>
          </a:prstGeom>
          <a:noFill/>
        </p:spPr>
        <p:txBody>
          <a:bodyPr wrap="square" rtlCol="0" anchor="t">
            <a:spAutoFit/>
          </a:bodyPr>
          <a:lstStyle/>
          <a:p>
            <a:pPr algn="ctr">
              <a:lnSpc>
                <a:spcPts val="1313"/>
              </a:lnSpc>
            </a:pPr>
            <a:r>
              <a:rPr lang="es-PE" sz="1050" noProof="0" dirty="0">
                <a:latin typeface="Trebuchet MS" panose="020B0603020202020204" pitchFamily="34" charset="0"/>
                <a:ea typeface="Lato Light" panose="020F0502020204030203" pitchFamily="34" charset="0"/>
                <a:cs typeface="Lato Light" panose="020F0502020204030203" pitchFamily="34" charset="0"/>
              </a:rPr>
              <a:t>Definición de un procedimiento para crear </a:t>
            </a:r>
            <a:r>
              <a:rPr lang="es-PE" sz="1050" noProof="0" dirty="0" err="1">
                <a:latin typeface="Trebuchet MS" panose="020B0603020202020204" pitchFamily="34" charset="0"/>
                <a:ea typeface="Lato Light" panose="020F0502020204030203" pitchFamily="34" charset="0"/>
                <a:cs typeface="Lato Light" panose="020F0502020204030203" pitchFamily="34" charset="0"/>
              </a:rPr>
              <a:t>Service</a:t>
            </a:r>
            <a:r>
              <a:rPr lang="es-PE" sz="1050" noProof="0" dirty="0">
                <a:latin typeface="Trebuchet MS" panose="020B0603020202020204" pitchFamily="34" charset="0"/>
                <a:ea typeface="Lato Light" panose="020F0502020204030203" pitchFamily="34" charset="0"/>
                <a:cs typeface="Lato Light" panose="020F0502020204030203" pitchFamily="34" charset="0"/>
              </a:rPr>
              <a:t> Principal y modificar propietarios de tablas en Unity </a:t>
            </a:r>
            <a:r>
              <a:rPr lang="es-PE" sz="1050" noProof="0" dirty="0" err="1">
                <a:latin typeface="Trebuchet MS" panose="020B0603020202020204" pitchFamily="34" charset="0"/>
                <a:ea typeface="Lato Light" panose="020F0502020204030203" pitchFamily="34" charset="0"/>
                <a:cs typeface="Lato Light" panose="020F0502020204030203" pitchFamily="34" charset="0"/>
              </a:rPr>
              <a:t>Catalog</a:t>
            </a:r>
            <a:endParaRPr lang="es-PE" sz="1050" noProof="0" dirty="0">
              <a:latin typeface="Trebuchet MS" panose="020B0603020202020204" pitchFamily="34" charset="0"/>
              <a:ea typeface="Lato Light" panose="020F0502020204030203" pitchFamily="34" charset="0"/>
              <a:cs typeface="Lato Light" panose="020F0502020204030203" pitchFamily="34" charset="0"/>
            </a:endParaRPr>
          </a:p>
        </p:txBody>
      </p:sp>
      <p:sp>
        <p:nvSpPr>
          <p:cNvPr id="26" name="TextBox 56">
            <a:extLst>
              <a:ext uri="{FF2B5EF4-FFF2-40B4-BE49-F238E27FC236}">
                <a16:creationId xmlns:a16="http://schemas.microsoft.com/office/drawing/2014/main" id="{0233641E-23AA-AE71-C9E2-1D07C8D0BFFD}"/>
              </a:ext>
            </a:extLst>
          </p:cNvPr>
          <p:cNvSpPr txBox="1"/>
          <p:nvPr/>
        </p:nvSpPr>
        <p:spPr>
          <a:xfrm>
            <a:off x="8154677" y="4862085"/>
            <a:ext cx="3172535" cy="338554"/>
          </a:xfrm>
          <a:prstGeom prst="rect">
            <a:avLst/>
          </a:prstGeom>
          <a:noFill/>
        </p:spPr>
        <p:txBody>
          <a:bodyPr wrap="none" rtlCol="0" anchor="b">
            <a:spAutoFit/>
          </a:bodyPr>
          <a:lstStyle/>
          <a:p>
            <a:r>
              <a:rPr lang="es-PE" sz="1600" b="1" noProof="0" dirty="0">
                <a:solidFill>
                  <a:schemeClr val="tx2"/>
                </a:solidFill>
                <a:latin typeface="Trebuchet MS" panose="020B0603020202020204" pitchFamily="34" charset="0"/>
                <a:cs typeface="Poppins" pitchFamily="2" charset="77"/>
              </a:rPr>
              <a:t>TRANSFERENCIA DE PROPIEDAD</a:t>
            </a:r>
          </a:p>
        </p:txBody>
      </p:sp>
      <p:sp>
        <p:nvSpPr>
          <p:cNvPr id="28" name="TextBox 60">
            <a:extLst>
              <a:ext uri="{FF2B5EF4-FFF2-40B4-BE49-F238E27FC236}">
                <a16:creationId xmlns:a16="http://schemas.microsoft.com/office/drawing/2014/main" id="{3FDCBDEA-88CD-E007-FBDA-80F31786983D}"/>
              </a:ext>
            </a:extLst>
          </p:cNvPr>
          <p:cNvSpPr txBox="1"/>
          <p:nvPr/>
        </p:nvSpPr>
        <p:spPr>
          <a:xfrm>
            <a:off x="4949418" y="1456424"/>
            <a:ext cx="2048639" cy="338554"/>
          </a:xfrm>
          <a:prstGeom prst="rect">
            <a:avLst/>
          </a:prstGeom>
          <a:noFill/>
        </p:spPr>
        <p:txBody>
          <a:bodyPr wrap="none" rtlCol="0" anchor="b">
            <a:spAutoFit/>
          </a:bodyPr>
          <a:lstStyle/>
          <a:p>
            <a:pPr algn="r"/>
            <a:r>
              <a:rPr lang="es-ES" sz="1600" b="1" dirty="0">
                <a:solidFill>
                  <a:schemeClr val="tx2"/>
                </a:solidFill>
                <a:latin typeface="Trebuchet MS" panose="020B0603020202020204" pitchFamily="34" charset="0"/>
                <a:cs typeface="Poppins" pitchFamily="2" charset="77"/>
              </a:rPr>
              <a:t>S</a:t>
            </a:r>
            <a:r>
              <a:rPr lang="es-PE" sz="1600" b="1" dirty="0">
                <a:solidFill>
                  <a:schemeClr val="tx2"/>
                </a:solidFill>
                <a:latin typeface="Trebuchet MS" panose="020B0603020202020204" pitchFamily="34" charset="0"/>
                <a:cs typeface="Poppins" pitchFamily="2" charset="77"/>
              </a:rPr>
              <a:t>OLICITAR ACCESOS</a:t>
            </a:r>
            <a:endParaRPr lang="es-PE" sz="1600" b="1" noProof="0" dirty="0">
              <a:solidFill>
                <a:schemeClr val="tx2"/>
              </a:solidFill>
              <a:latin typeface="Trebuchet MS" panose="020B0603020202020204" pitchFamily="34" charset="0"/>
              <a:cs typeface="Poppins" pitchFamily="2" charset="77"/>
            </a:endParaRPr>
          </a:p>
        </p:txBody>
      </p:sp>
      <p:sp>
        <p:nvSpPr>
          <p:cNvPr id="31" name="TextBox 66">
            <a:extLst>
              <a:ext uri="{FF2B5EF4-FFF2-40B4-BE49-F238E27FC236}">
                <a16:creationId xmlns:a16="http://schemas.microsoft.com/office/drawing/2014/main" id="{EE46E15F-166E-8814-79B3-EC95A6D66884}"/>
              </a:ext>
            </a:extLst>
          </p:cNvPr>
          <p:cNvSpPr txBox="1"/>
          <p:nvPr/>
        </p:nvSpPr>
        <p:spPr>
          <a:xfrm>
            <a:off x="1709449" y="5290216"/>
            <a:ext cx="2600231" cy="1081899"/>
          </a:xfrm>
          <a:prstGeom prst="rect">
            <a:avLst/>
          </a:prstGeom>
          <a:noFill/>
        </p:spPr>
        <p:txBody>
          <a:bodyPr wrap="square" rtlCol="0" anchor="t">
            <a:spAutoFit/>
          </a:bodyPr>
          <a:lstStyle/>
          <a:p>
            <a:pPr marL="171450" indent="-171450">
              <a:lnSpc>
                <a:spcPts val="1313"/>
              </a:lnSpc>
              <a:buFont typeface="Arial" panose="020B0604020202020204" pitchFamily="34" charset="0"/>
              <a:buChar char="•"/>
            </a:pPr>
            <a:r>
              <a:rPr lang="es-PE" sz="1050" noProof="0" dirty="0">
                <a:latin typeface="Trebuchet MS" panose="020B0603020202020204" pitchFamily="34" charset="0"/>
                <a:ea typeface="Lato Light" panose="020F0502020204030203" pitchFamily="34" charset="0"/>
                <a:cs typeface="Lato Light" panose="020F0502020204030203" pitchFamily="34" charset="0"/>
              </a:rPr>
              <a:t>Administrador </a:t>
            </a:r>
            <a:r>
              <a:rPr lang="es-PE" sz="1050" noProof="0" dirty="0" err="1">
                <a:latin typeface="Trebuchet MS" panose="020B0603020202020204" pitchFamily="34" charset="0"/>
                <a:ea typeface="Lato Light" panose="020F0502020204030203" pitchFamily="34" charset="0"/>
                <a:cs typeface="Lato Light" panose="020F0502020204030203" pitchFamily="34" charset="0"/>
              </a:rPr>
              <a:t>Databricks</a:t>
            </a:r>
            <a:endParaRPr lang="es-PE" sz="1050" noProof="0" dirty="0">
              <a:latin typeface="Trebuchet MS" panose="020B0603020202020204" pitchFamily="34" charset="0"/>
              <a:ea typeface="Lato Light" panose="020F0502020204030203" pitchFamily="34" charset="0"/>
              <a:cs typeface="Lato Light" panose="020F0502020204030203" pitchFamily="34" charset="0"/>
            </a:endParaRPr>
          </a:p>
          <a:p>
            <a:pPr marL="171450" indent="-171450">
              <a:lnSpc>
                <a:spcPts val="1313"/>
              </a:lnSpc>
              <a:buFont typeface="Arial" panose="020B0604020202020204" pitchFamily="34" charset="0"/>
              <a:buChar char="•"/>
            </a:pPr>
            <a:r>
              <a:rPr lang="es-PE" sz="1050" dirty="0">
                <a:latin typeface="Trebuchet MS" panose="020B0603020202020204" pitchFamily="34" charset="0"/>
                <a:ea typeface="Lato Light" panose="020F0502020204030203" pitchFamily="34" charset="0"/>
                <a:cs typeface="Lato Light" panose="020F0502020204030203" pitchFamily="34" charset="0"/>
              </a:rPr>
              <a:t>Administrador </a:t>
            </a:r>
            <a:r>
              <a:rPr lang="es-PE" sz="1050" dirty="0" err="1">
                <a:latin typeface="Trebuchet MS" panose="020B0603020202020204" pitchFamily="34" charset="0"/>
                <a:ea typeface="Lato Light" panose="020F0502020204030203" pitchFamily="34" charset="0"/>
                <a:cs typeface="Lato Light" panose="020F0502020204030203" pitchFamily="34" charset="0"/>
              </a:rPr>
              <a:t>Workspace</a:t>
            </a:r>
            <a:endParaRPr lang="es-PE" sz="1050" dirty="0">
              <a:latin typeface="Trebuchet MS" panose="020B0603020202020204" pitchFamily="34" charset="0"/>
              <a:ea typeface="Lato Light" panose="020F0502020204030203" pitchFamily="34" charset="0"/>
              <a:cs typeface="Lato Light" panose="020F0502020204030203" pitchFamily="34" charset="0"/>
            </a:endParaRPr>
          </a:p>
          <a:p>
            <a:pPr marL="171450" indent="-171450">
              <a:lnSpc>
                <a:spcPts val="1313"/>
              </a:lnSpc>
              <a:buFont typeface="Arial" panose="020B0604020202020204" pitchFamily="34" charset="0"/>
              <a:buChar char="•"/>
            </a:pPr>
            <a:r>
              <a:rPr lang="es-PE" sz="1050" noProof="0" dirty="0">
                <a:latin typeface="Trebuchet MS" panose="020B0603020202020204" pitchFamily="34" charset="0"/>
                <a:ea typeface="Lato Light" panose="020F0502020204030203" pitchFamily="34" charset="0"/>
                <a:cs typeface="Lato Light" panose="020F0502020204030203" pitchFamily="34" charset="0"/>
              </a:rPr>
              <a:t>Administrador </a:t>
            </a:r>
            <a:r>
              <a:rPr lang="es-PE" sz="1050" noProof="0" dirty="0" err="1">
                <a:latin typeface="Trebuchet MS" panose="020B0603020202020204" pitchFamily="34" charset="0"/>
                <a:ea typeface="Lato Light" panose="020F0502020204030203" pitchFamily="34" charset="0"/>
                <a:cs typeface="Lato Light" panose="020F0502020204030203" pitchFamily="34" charset="0"/>
              </a:rPr>
              <a:t>Metastore</a:t>
            </a:r>
            <a:endParaRPr lang="es-PE" sz="1050" noProof="0" dirty="0">
              <a:latin typeface="Trebuchet MS" panose="020B0603020202020204" pitchFamily="34" charset="0"/>
              <a:ea typeface="Lato Light" panose="020F0502020204030203" pitchFamily="34" charset="0"/>
              <a:cs typeface="Lato Light" panose="020F0502020204030203" pitchFamily="34" charset="0"/>
            </a:endParaRPr>
          </a:p>
          <a:p>
            <a:pPr marL="171450" indent="-171450">
              <a:lnSpc>
                <a:spcPts val="1313"/>
              </a:lnSpc>
              <a:buFont typeface="Arial" panose="020B0604020202020204" pitchFamily="34" charset="0"/>
              <a:buChar char="•"/>
            </a:pPr>
            <a:r>
              <a:rPr lang="es-PE" sz="1050" dirty="0">
                <a:latin typeface="Trebuchet MS" panose="020B0603020202020204" pitchFamily="34" charset="0"/>
                <a:ea typeface="Lato Light" panose="020F0502020204030203" pitchFamily="34" charset="0"/>
                <a:cs typeface="Lato Light" panose="020F0502020204030203" pitchFamily="34" charset="0"/>
              </a:rPr>
              <a:t>Data </a:t>
            </a:r>
            <a:r>
              <a:rPr lang="es-PE" sz="1050" dirty="0" err="1">
                <a:latin typeface="Trebuchet MS" panose="020B0603020202020204" pitchFamily="34" charset="0"/>
                <a:ea typeface="Lato Light" panose="020F0502020204030203" pitchFamily="34" charset="0"/>
                <a:cs typeface="Lato Light" panose="020F0502020204030203" pitchFamily="34" charset="0"/>
              </a:rPr>
              <a:t>Engineer</a:t>
            </a:r>
            <a:endParaRPr lang="es-PE" sz="1050" dirty="0">
              <a:latin typeface="Trebuchet MS" panose="020B0603020202020204" pitchFamily="34" charset="0"/>
              <a:ea typeface="Lato Light" panose="020F0502020204030203" pitchFamily="34" charset="0"/>
              <a:cs typeface="Lato Light" panose="020F0502020204030203" pitchFamily="34" charset="0"/>
            </a:endParaRPr>
          </a:p>
          <a:p>
            <a:pPr marL="171450" indent="-171450">
              <a:lnSpc>
                <a:spcPts val="1313"/>
              </a:lnSpc>
              <a:buFont typeface="Arial" panose="020B0604020202020204" pitchFamily="34" charset="0"/>
              <a:buChar char="•"/>
            </a:pPr>
            <a:r>
              <a:rPr lang="es-PE" sz="1050" noProof="0" dirty="0">
                <a:latin typeface="Trebuchet MS" panose="020B0603020202020204" pitchFamily="34" charset="0"/>
                <a:ea typeface="Lato Light" panose="020F0502020204030203" pitchFamily="34" charset="0"/>
                <a:cs typeface="Lato Light" panose="020F0502020204030203" pitchFamily="34" charset="0"/>
              </a:rPr>
              <a:t>Data </a:t>
            </a:r>
            <a:r>
              <a:rPr lang="es-PE" sz="1050" noProof="0" dirty="0" err="1">
                <a:latin typeface="Trebuchet MS" panose="020B0603020202020204" pitchFamily="34" charset="0"/>
                <a:ea typeface="Lato Light" panose="020F0502020204030203" pitchFamily="34" charset="0"/>
                <a:cs typeface="Lato Light" panose="020F0502020204030203" pitchFamily="34" charset="0"/>
              </a:rPr>
              <a:t>Science</a:t>
            </a:r>
            <a:endParaRPr lang="es-PE" sz="1050" noProof="0" dirty="0">
              <a:latin typeface="Trebuchet MS" panose="020B0603020202020204" pitchFamily="34" charset="0"/>
              <a:ea typeface="Lato Light" panose="020F0502020204030203" pitchFamily="34" charset="0"/>
              <a:cs typeface="Lato Light" panose="020F0502020204030203" pitchFamily="34" charset="0"/>
            </a:endParaRPr>
          </a:p>
          <a:p>
            <a:pPr marL="171450" indent="-171450">
              <a:lnSpc>
                <a:spcPts val="1313"/>
              </a:lnSpc>
              <a:buFont typeface="Arial" panose="020B0604020202020204" pitchFamily="34" charset="0"/>
              <a:buChar char="•"/>
            </a:pPr>
            <a:r>
              <a:rPr lang="es-PE" sz="1050" dirty="0">
                <a:latin typeface="Trebuchet MS" panose="020B0603020202020204" pitchFamily="34" charset="0"/>
                <a:ea typeface="Lato Light" panose="020F0502020204030203" pitchFamily="34" charset="0"/>
                <a:cs typeface="Lato Light" panose="020F0502020204030203" pitchFamily="34" charset="0"/>
              </a:rPr>
              <a:t>Business Data </a:t>
            </a:r>
            <a:r>
              <a:rPr lang="es-PE" sz="1050" dirty="0" err="1">
                <a:latin typeface="Trebuchet MS" panose="020B0603020202020204" pitchFamily="34" charset="0"/>
                <a:ea typeface="Lato Light" panose="020F0502020204030203" pitchFamily="34" charset="0"/>
                <a:cs typeface="Lato Light" panose="020F0502020204030203" pitchFamily="34" charset="0"/>
              </a:rPr>
              <a:t>User</a:t>
            </a:r>
            <a:endParaRPr lang="es-PE" sz="1050" noProof="0" dirty="0">
              <a:latin typeface="Trebuchet MS" panose="020B0603020202020204" pitchFamily="34" charset="0"/>
              <a:ea typeface="Lato Light" panose="020F0502020204030203" pitchFamily="34" charset="0"/>
              <a:cs typeface="Lato Light" panose="020F0502020204030203" pitchFamily="34" charset="0"/>
            </a:endParaRPr>
          </a:p>
        </p:txBody>
      </p:sp>
      <p:sp>
        <p:nvSpPr>
          <p:cNvPr id="32" name="TextBox 67">
            <a:extLst>
              <a:ext uri="{FF2B5EF4-FFF2-40B4-BE49-F238E27FC236}">
                <a16:creationId xmlns:a16="http://schemas.microsoft.com/office/drawing/2014/main" id="{EA77F04F-E33A-5FBD-2A00-6EDA7EFD3BA7}"/>
              </a:ext>
            </a:extLst>
          </p:cNvPr>
          <p:cNvSpPr txBox="1"/>
          <p:nvPr/>
        </p:nvSpPr>
        <p:spPr>
          <a:xfrm>
            <a:off x="1834145" y="4903456"/>
            <a:ext cx="1958165" cy="338554"/>
          </a:xfrm>
          <a:prstGeom prst="rect">
            <a:avLst/>
          </a:prstGeom>
          <a:noFill/>
        </p:spPr>
        <p:txBody>
          <a:bodyPr wrap="none" rtlCol="0" anchor="b">
            <a:spAutoFit/>
          </a:bodyPr>
          <a:lstStyle/>
          <a:p>
            <a:pPr algn="r"/>
            <a:r>
              <a:rPr lang="es-PE" sz="1600" b="1" noProof="0" dirty="0">
                <a:solidFill>
                  <a:schemeClr val="tx2"/>
                </a:solidFill>
                <a:latin typeface="Trebuchet MS" panose="020B0603020202020204" pitchFamily="34" charset="0"/>
                <a:cs typeface="Poppins" pitchFamily="2" charset="77"/>
              </a:rPr>
              <a:t>ROLES Y PERMISOS</a:t>
            </a:r>
          </a:p>
        </p:txBody>
      </p:sp>
      <p:sp>
        <p:nvSpPr>
          <p:cNvPr id="33" name="TextBox 69">
            <a:extLst>
              <a:ext uri="{FF2B5EF4-FFF2-40B4-BE49-F238E27FC236}">
                <a16:creationId xmlns:a16="http://schemas.microsoft.com/office/drawing/2014/main" id="{09EA1E83-EA67-44EE-3B2E-ACBA87288054}"/>
              </a:ext>
            </a:extLst>
          </p:cNvPr>
          <p:cNvSpPr txBox="1"/>
          <p:nvPr/>
        </p:nvSpPr>
        <p:spPr>
          <a:xfrm>
            <a:off x="4886565" y="1802827"/>
            <a:ext cx="2174347" cy="581762"/>
          </a:xfrm>
          <a:prstGeom prst="rect">
            <a:avLst/>
          </a:prstGeom>
          <a:noFill/>
        </p:spPr>
        <p:txBody>
          <a:bodyPr wrap="square" rtlCol="0" anchor="t">
            <a:spAutoFit/>
          </a:bodyPr>
          <a:lstStyle/>
          <a:p>
            <a:pPr algn="r">
              <a:lnSpc>
                <a:spcPts val="1313"/>
              </a:lnSpc>
            </a:pPr>
            <a:r>
              <a:rPr lang="es-PE" sz="1050" noProof="0" dirty="0">
                <a:latin typeface="Trebuchet MS" panose="020B0603020202020204" pitchFamily="34" charset="0"/>
                <a:ea typeface="Lato Light" panose="020F0502020204030203" pitchFamily="34" charset="0"/>
                <a:cs typeface="Lato Light" panose="020F0502020204030203" pitchFamily="34" charset="0"/>
              </a:rPr>
              <a:t>Definición de un procedimiento para atender solicitudes de accesos a Unity </a:t>
            </a:r>
            <a:r>
              <a:rPr lang="es-PE" sz="1050" noProof="0" dirty="0" err="1">
                <a:latin typeface="Trebuchet MS" panose="020B0603020202020204" pitchFamily="34" charset="0"/>
                <a:ea typeface="Lato Light" panose="020F0502020204030203" pitchFamily="34" charset="0"/>
                <a:cs typeface="Lato Light" panose="020F0502020204030203" pitchFamily="34" charset="0"/>
              </a:rPr>
              <a:t>Catalog</a:t>
            </a:r>
            <a:endParaRPr lang="es-PE" sz="1050" noProof="0" dirty="0">
              <a:latin typeface="Trebuchet MS" panose="020B0603020202020204" pitchFamily="34" charset="0"/>
              <a:ea typeface="Lato Light" panose="020F0502020204030203" pitchFamily="34" charset="0"/>
              <a:cs typeface="Lato Light" panose="020F0502020204030203" pitchFamily="34" charset="0"/>
            </a:endParaRPr>
          </a:p>
        </p:txBody>
      </p:sp>
      <p:sp>
        <p:nvSpPr>
          <p:cNvPr id="9" name="TextBox 67">
            <a:extLst>
              <a:ext uri="{FF2B5EF4-FFF2-40B4-BE49-F238E27FC236}">
                <a16:creationId xmlns:a16="http://schemas.microsoft.com/office/drawing/2014/main" id="{C29453CF-BCCB-24E7-39D9-3A5047559C4B}"/>
              </a:ext>
            </a:extLst>
          </p:cNvPr>
          <p:cNvSpPr txBox="1"/>
          <p:nvPr/>
        </p:nvSpPr>
        <p:spPr>
          <a:xfrm>
            <a:off x="490438" y="1426705"/>
            <a:ext cx="2728439" cy="338554"/>
          </a:xfrm>
          <a:prstGeom prst="rect">
            <a:avLst/>
          </a:prstGeom>
          <a:noFill/>
        </p:spPr>
        <p:txBody>
          <a:bodyPr wrap="none" rtlCol="0" anchor="b">
            <a:spAutoFit/>
          </a:bodyPr>
          <a:lstStyle/>
          <a:p>
            <a:pPr algn="r"/>
            <a:r>
              <a:rPr lang="es-PE" sz="1600" b="1" noProof="0" dirty="0">
                <a:solidFill>
                  <a:schemeClr val="tx2"/>
                </a:solidFill>
                <a:latin typeface="Trebuchet MS" panose="020B0603020202020204" pitchFamily="34" charset="0"/>
                <a:cs typeface="Poppins" pitchFamily="2" charset="77"/>
              </a:rPr>
              <a:t>CATÁLOGO CENTRALIZADO</a:t>
            </a:r>
          </a:p>
        </p:txBody>
      </p:sp>
      <p:sp>
        <p:nvSpPr>
          <p:cNvPr id="11" name="TextBox 69">
            <a:extLst>
              <a:ext uri="{FF2B5EF4-FFF2-40B4-BE49-F238E27FC236}">
                <a16:creationId xmlns:a16="http://schemas.microsoft.com/office/drawing/2014/main" id="{76025239-30C8-D106-5CE9-6ED4424AA828}"/>
              </a:ext>
            </a:extLst>
          </p:cNvPr>
          <p:cNvSpPr txBox="1"/>
          <p:nvPr/>
        </p:nvSpPr>
        <p:spPr>
          <a:xfrm>
            <a:off x="1036408" y="1838515"/>
            <a:ext cx="2174347" cy="748475"/>
          </a:xfrm>
          <a:prstGeom prst="rect">
            <a:avLst/>
          </a:prstGeom>
          <a:noFill/>
        </p:spPr>
        <p:txBody>
          <a:bodyPr wrap="square" rtlCol="0" anchor="t">
            <a:spAutoFit/>
          </a:bodyPr>
          <a:lstStyle/>
          <a:p>
            <a:pPr algn="r">
              <a:lnSpc>
                <a:spcPts val="1313"/>
              </a:lnSpc>
            </a:pPr>
            <a:r>
              <a:rPr lang="es-ES" sz="1050" noProof="0" dirty="0">
                <a:latin typeface="Trebuchet MS" panose="020B0603020202020204" pitchFamily="34" charset="0"/>
                <a:ea typeface="Lato Light" panose="020F0502020204030203" pitchFamily="34" charset="0"/>
                <a:cs typeface="Lato Light" panose="020F0502020204030203" pitchFamily="34" charset="0"/>
              </a:rPr>
              <a:t>Repositorio único y corporativo de todos los objetos de datos (catálogos, esquemas, tablas, campos)</a:t>
            </a:r>
            <a:endParaRPr lang="es-PE" sz="1050" noProof="0" dirty="0">
              <a:latin typeface="Trebuchet MS" panose="020B0603020202020204" pitchFamily="34" charset="0"/>
              <a:ea typeface="Lato Light" panose="020F0502020204030203" pitchFamily="34" charset="0"/>
              <a:cs typeface="Lato Light" panose="020F0502020204030203" pitchFamily="34" charset="0"/>
            </a:endParaRPr>
          </a:p>
        </p:txBody>
      </p:sp>
      <p:sp>
        <p:nvSpPr>
          <p:cNvPr id="13" name="CuadroTexto 12">
            <a:extLst>
              <a:ext uri="{FF2B5EF4-FFF2-40B4-BE49-F238E27FC236}">
                <a16:creationId xmlns:a16="http://schemas.microsoft.com/office/drawing/2014/main" id="{3D6254F4-54F2-7A8B-C00A-2FBF37B2BBF8}"/>
              </a:ext>
            </a:extLst>
          </p:cNvPr>
          <p:cNvSpPr txBox="1"/>
          <p:nvPr/>
        </p:nvSpPr>
        <p:spPr>
          <a:xfrm>
            <a:off x="6862929" y="6240883"/>
            <a:ext cx="5170803" cy="600164"/>
          </a:xfrm>
          <a:prstGeom prst="rect">
            <a:avLst/>
          </a:prstGeom>
          <a:noFill/>
        </p:spPr>
        <p:txBody>
          <a:bodyPr wrap="square" rtlCol="0">
            <a:spAutoFit/>
          </a:bodyPr>
          <a:lstStyle/>
          <a:p>
            <a:r>
              <a:rPr lang="es-ES" sz="1100" b="1" dirty="0"/>
              <a:t>Doc. De Referencia: </a:t>
            </a:r>
          </a:p>
          <a:p>
            <a:r>
              <a:rPr lang="pt-BR" sz="1100" b="1" dirty="0"/>
              <a:t>DG-PRO-PAUC-</a:t>
            </a:r>
            <a:r>
              <a:rPr lang="pt-BR" sz="1100" b="1" dirty="0" err="1"/>
              <a:t>Procedimiento</a:t>
            </a:r>
            <a:r>
              <a:rPr lang="pt-BR" sz="1100" b="1" dirty="0"/>
              <a:t> para Solicitar </a:t>
            </a:r>
            <a:r>
              <a:rPr lang="pt-BR" sz="1100" b="1" dirty="0" err="1"/>
              <a:t>Accesos</a:t>
            </a:r>
            <a:r>
              <a:rPr lang="pt-BR" sz="1100" b="1" dirty="0"/>
              <a:t> a Unity </a:t>
            </a:r>
            <a:r>
              <a:rPr lang="pt-BR" sz="1100" b="1" dirty="0" err="1"/>
              <a:t>Catalog</a:t>
            </a:r>
            <a:r>
              <a:rPr lang="pt-BR" sz="1100" b="1" dirty="0"/>
              <a:t> v1.0</a:t>
            </a:r>
          </a:p>
          <a:p>
            <a:r>
              <a:rPr lang="es-ES" sz="1100" b="1" dirty="0"/>
              <a:t>DG-PPRO-TPUC-Procedimiento para Transferencia de Propiedad en Unity </a:t>
            </a:r>
            <a:r>
              <a:rPr lang="es-ES" sz="1100" b="1" dirty="0" err="1"/>
              <a:t>Catalog</a:t>
            </a:r>
            <a:r>
              <a:rPr lang="es-ES" sz="1100" b="1" dirty="0"/>
              <a:t> v1.0</a:t>
            </a:r>
            <a:endParaRPr lang="es-PE" sz="1100" b="1" dirty="0"/>
          </a:p>
        </p:txBody>
      </p:sp>
      <p:pic>
        <p:nvPicPr>
          <p:cNvPr id="3074" name="Picture 2" descr="Databricks Unity Catalog. Access this blog for free here… | by Vishal  Barvaliya | Data Engineer Things">
            <a:extLst>
              <a:ext uri="{FF2B5EF4-FFF2-40B4-BE49-F238E27FC236}">
                <a16:creationId xmlns:a16="http://schemas.microsoft.com/office/drawing/2014/main" id="{6EA5C8BA-4920-C57B-49F2-44ADEBE9F13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482711" y="1785106"/>
            <a:ext cx="3171743" cy="17852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41173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descr="Imagen que contiene Logotipo&#10;&#10;Descripción generada automáticamente">
            <a:extLst>
              <a:ext uri="{FF2B5EF4-FFF2-40B4-BE49-F238E27FC236}">
                <a16:creationId xmlns:a16="http://schemas.microsoft.com/office/drawing/2014/main" id="{44925CED-7376-B07A-69D7-B57915B4011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0800000">
            <a:off x="5081070" y="5797825"/>
            <a:ext cx="7110930" cy="1060175"/>
          </a:xfrm>
          <a:prstGeom prst="rect">
            <a:avLst/>
          </a:prstGeom>
        </p:spPr>
      </p:pic>
      <p:pic>
        <p:nvPicPr>
          <p:cNvPr id="4" name="Imagen 3" descr="Imagen que contiene Logotipo&#10;&#10;Descripción generada automáticamente">
            <a:extLst>
              <a:ext uri="{FF2B5EF4-FFF2-40B4-BE49-F238E27FC236}">
                <a16:creationId xmlns:a16="http://schemas.microsoft.com/office/drawing/2014/main" id="{21806B7C-01A4-EB3C-CFFC-865A82B51E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
            <a:ext cx="7110930" cy="1060175"/>
          </a:xfrm>
          <a:prstGeom prst="rect">
            <a:avLst/>
          </a:prstGeom>
        </p:spPr>
      </p:pic>
      <p:pic>
        <p:nvPicPr>
          <p:cNvPr id="5" name="Imagen 4" descr="Logotipo&#10;&#10;Descripción generada automáticamente">
            <a:extLst>
              <a:ext uri="{FF2B5EF4-FFF2-40B4-BE49-F238E27FC236}">
                <a16:creationId xmlns:a16="http://schemas.microsoft.com/office/drawing/2014/main" id="{3D74AEA4-446E-9DA0-7DFF-EDC050BE11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29800" y="530086"/>
            <a:ext cx="1905000" cy="698500"/>
          </a:xfrm>
          <a:prstGeom prst="rect">
            <a:avLst/>
          </a:prstGeom>
        </p:spPr>
      </p:pic>
      <p:sp>
        <p:nvSpPr>
          <p:cNvPr id="2" name="Título 1">
            <a:extLst>
              <a:ext uri="{FF2B5EF4-FFF2-40B4-BE49-F238E27FC236}">
                <a16:creationId xmlns:a16="http://schemas.microsoft.com/office/drawing/2014/main" id="{F9921EA2-6501-B452-EBFE-B9CD3D033304}"/>
              </a:ext>
            </a:extLst>
          </p:cNvPr>
          <p:cNvSpPr>
            <a:spLocks noGrp="1"/>
          </p:cNvSpPr>
          <p:nvPr>
            <p:ph type="title"/>
          </p:nvPr>
        </p:nvSpPr>
        <p:spPr>
          <a:xfrm>
            <a:off x="1380916" y="879337"/>
            <a:ext cx="8062887" cy="574710"/>
          </a:xfrm>
        </p:spPr>
        <p:txBody>
          <a:bodyPr/>
          <a:lstStyle/>
          <a:p>
            <a:r>
              <a:rPr lang="es-ES" sz="3200" b="1" dirty="0">
                <a:solidFill>
                  <a:srgbClr val="3FA7A7"/>
                </a:solidFill>
                <a:latin typeface="Source Sans Pro" panose="020B0503030403020204" pitchFamily="34" charset="0"/>
                <a:ea typeface="Source Sans Pro" panose="020B0503030403020204" pitchFamily="34" charset="0"/>
                <a:cs typeface="Open Sans"/>
              </a:rPr>
              <a:t>Procedimiento para Accesos a Unity </a:t>
            </a:r>
            <a:r>
              <a:rPr lang="es-ES" sz="3200" b="1" dirty="0" err="1">
                <a:solidFill>
                  <a:srgbClr val="3FA7A7"/>
                </a:solidFill>
                <a:latin typeface="Source Sans Pro" panose="020B0503030403020204" pitchFamily="34" charset="0"/>
                <a:ea typeface="Source Sans Pro" panose="020B0503030403020204" pitchFamily="34" charset="0"/>
                <a:cs typeface="Open Sans"/>
              </a:rPr>
              <a:t>Catalog</a:t>
            </a:r>
            <a:endParaRPr lang="es-PE" sz="3200" b="1" dirty="0">
              <a:solidFill>
                <a:srgbClr val="3FA7A7"/>
              </a:solidFill>
              <a:latin typeface="Source Sans Pro" panose="020B0503030403020204" pitchFamily="34" charset="0"/>
              <a:ea typeface="Source Sans Pro" panose="020B0503030403020204" pitchFamily="34" charset="0"/>
              <a:cs typeface="Open Sans"/>
            </a:endParaRPr>
          </a:p>
        </p:txBody>
      </p:sp>
      <p:pic>
        <p:nvPicPr>
          <p:cNvPr id="4098" name="Picture 2">
            <a:extLst>
              <a:ext uri="{FF2B5EF4-FFF2-40B4-BE49-F238E27FC236}">
                <a16:creationId xmlns:a16="http://schemas.microsoft.com/office/drawing/2014/main" id="{40D9A2E7-0591-02FF-6D3B-E29545118F9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07675" y="1454048"/>
            <a:ext cx="7110930" cy="4835872"/>
          </a:xfrm>
          <a:prstGeom prst="rect">
            <a:avLst/>
          </a:prstGeom>
          <a:noFill/>
          <a:extLst>
            <a:ext uri="{909E8E84-426E-40DD-AFC4-6F175D3DCCD1}">
              <a14:hiddenFill xmlns:a14="http://schemas.microsoft.com/office/drawing/2010/main">
                <a:solidFill>
                  <a:srgbClr val="FFFFFF"/>
                </a:solidFill>
              </a14:hiddenFill>
            </a:ext>
          </a:extLst>
        </p:spPr>
      </p:pic>
      <p:sp>
        <p:nvSpPr>
          <p:cNvPr id="6" name="CuadroTexto 5">
            <a:extLst>
              <a:ext uri="{FF2B5EF4-FFF2-40B4-BE49-F238E27FC236}">
                <a16:creationId xmlns:a16="http://schemas.microsoft.com/office/drawing/2014/main" id="{1F42EE20-818D-C023-EAE5-44A885E2BB87}"/>
              </a:ext>
            </a:extLst>
          </p:cNvPr>
          <p:cNvSpPr txBox="1"/>
          <p:nvPr/>
        </p:nvSpPr>
        <p:spPr>
          <a:xfrm>
            <a:off x="6856527" y="6427113"/>
            <a:ext cx="5170803" cy="430887"/>
          </a:xfrm>
          <a:prstGeom prst="rect">
            <a:avLst/>
          </a:prstGeom>
          <a:noFill/>
        </p:spPr>
        <p:txBody>
          <a:bodyPr wrap="square" rtlCol="0">
            <a:spAutoFit/>
          </a:bodyPr>
          <a:lstStyle/>
          <a:p>
            <a:r>
              <a:rPr lang="es-ES" sz="1100" b="1" dirty="0"/>
              <a:t>Doc. De Referencia: </a:t>
            </a:r>
          </a:p>
          <a:p>
            <a:r>
              <a:rPr lang="pt-BR" sz="1100" b="1" dirty="0"/>
              <a:t>DG-PRO-PAUC-</a:t>
            </a:r>
            <a:r>
              <a:rPr lang="pt-BR" sz="1100" b="1" dirty="0" err="1"/>
              <a:t>Procedimiento</a:t>
            </a:r>
            <a:r>
              <a:rPr lang="pt-BR" sz="1100" b="1" dirty="0"/>
              <a:t> para Solicitar </a:t>
            </a:r>
            <a:r>
              <a:rPr lang="pt-BR" sz="1100" b="1" dirty="0" err="1"/>
              <a:t>Accesos</a:t>
            </a:r>
            <a:r>
              <a:rPr lang="pt-BR" sz="1100" b="1" dirty="0"/>
              <a:t> a Unity </a:t>
            </a:r>
            <a:r>
              <a:rPr lang="pt-BR" sz="1100" b="1" dirty="0" err="1"/>
              <a:t>Catalog</a:t>
            </a:r>
            <a:r>
              <a:rPr lang="pt-BR" sz="1100" b="1" dirty="0"/>
              <a:t> v1.0</a:t>
            </a:r>
          </a:p>
        </p:txBody>
      </p:sp>
      <p:sp>
        <p:nvSpPr>
          <p:cNvPr id="7" name="CuadroTexto 6">
            <a:extLst>
              <a:ext uri="{FF2B5EF4-FFF2-40B4-BE49-F238E27FC236}">
                <a16:creationId xmlns:a16="http://schemas.microsoft.com/office/drawing/2014/main" id="{9D43A611-CB7F-8E72-24FD-1437A6F73BDA}"/>
              </a:ext>
            </a:extLst>
          </p:cNvPr>
          <p:cNvSpPr txBox="1"/>
          <p:nvPr/>
        </p:nvSpPr>
        <p:spPr>
          <a:xfrm>
            <a:off x="336448" y="6335186"/>
            <a:ext cx="4543695"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Calibri"/>
              <a:buChar char="-"/>
            </a:pPr>
            <a:r>
              <a:rPr lang="es-ES" sz="1200" b="1">
                <a:ea typeface="Calibri"/>
                <a:cs typeface="Calibri"/>
              </a:rPr>
              <a:t>Para los usuarios de negocio, la única herramienta para validación y visualización de los </a:t>
            </a:r>
            <a:r>
              <a:rPr lang="es-ES" sz="1200" b="1" dirty="0">
                <a:ea typeface="Calibri"/>
                <a:cs typeface="Calibri"/>
              </a:rPr>
              <a:t>datos del subdominio, es </a:t>
            </a:r>
            <a:r>
              <a:rPr lang="es-ES" sz="1200" b="1" dirty="0" err="1">
                <a:ea typeface="Calibri"/>
                <a:cs typeface="Calibri"/>
              </a:rPr>
              <a:t>Power</a:t>
            </a:r>
            <a:r>
              <a:rPr lang="es-ES" sz="1200" b="1" dirty="0">
                <a:ea typeface="Calibri"/>
                <a:cs typeface="Calibri"/>
              </a:rPr>
              <a:t> BI</a:t>
            </a:r>
            <a:endParaRPr lang="es-ES" sz="1050" b="1">
              <a:ea typeface="Calibri"/>
              <a:cs typeface="Calibri"/>
            </a:endParaRPr>
          </a:p>
        </p:txBody>
      </p:sp>
    </p:spTree>
    <p:extLst>
      <p:ext uri="{BB962C8B-B14F-4D97-AF65-F5344CB8AC3E}">
        <p14:creationId xmlns:p14="http://schemas.microsoft.com/office/powerpoint/2010/main" val="36630970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A435FE-C278-9F37-0A87-7ADAF95B6D0C}"/>
            </a:ext>
          </a:extLst>
        </p:cNvPr>
        <p:cNvGrpSpPr/>
        <p:nvPr/>
      </p:nvGrpSpPr>
      <p:grpSpPr>
        <a:xfrm>
          <a:off x="0" y="0"/>
          <a:ext cx="0" cy="0"/>
          <a:chOff x="0" y="0"/>
          <a:chExt cx="0" cy="0"/>
        </a:xfrm>
      </p:grpSpPr>
      <p:pic>
        <p:nvPicPr>
          <p:cNvPr id="7" name="Imagen 6" descr="Imagen que contiene Logotipo&#10;&#10;Descripción generada automáticamente">
            <a:extLst>
              <a:ext uri="{FF2B5EF4-FFF2-40B4-BE49-F238E27FC236}">
                <a16:creationId xmlns:a16="http://schemas.microsoft.com/office/drawing/2014/main" id="{3C059402-9C13-067A-7CD3-78BB0CA9A44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0800000">
            <a:off x="5081070" y="5797825"/>
            <a:ext cx="7110930" cy="1060175"/>
          </a:xfrm>
          <a:prstGeom prst="rect">
            <a:avLst/>
          </a:prstGeom>
        </p:spPr>
      </p:pic>
      <p:graphicFrame>
        <p:nvGraphicFramePr>
          <p:cNvPr id="3" name="Objeto 2" hidden="1">
            <a:extLst>
              <a:ext uri="{FF2B5EF4-FFF2-40B4-BE49-F238E27FC236}">
                <a16:creationId xmlns:a16="http://schemas.microsoft.com/office/drawing/2014/main" id="{F4ABC978-CA81-3632-35C5-A8ED8FD904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3" name="Objeto 2" hidden="1">
                        <a:extLst>
                          <a:ext uri="{FF2B5EF4-FFF2-40B4-BE49-F238E27FC236}">
                            <a16:creationId xmlns:a16="http://schemas.microsoft.com/office/drawing/2014/main" id="{4D181DB2-75C3-4D08-F4CD-7F5EA9C7E99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018E8190-DFB9-325C-C40B-1F5425280C14}"/>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2800" b="1" i="0" u="none" strike="noStrike" kern="1200" cap="none" spc="0" normalizeH="0" baseline="0" noProof="0">
              <a:ln>
                <a:noFill/>
              </a:ln>
              <a:solidFill>
                <a:prstClr val="black"/>
              </a:solidFill>
              <a:effectLst/>
              <a:uLnTx/>
              <a:uFillTx/>
              <a:latin typeface="Calibri" panose="020F0502020204030204" pitchFamily="34" charset="0"/>
              <a:ea typeface="+mn-ea"/>
              <a:cs typeface="+mn-cs"/>
              <a:sym typeface="Calibri" panose="020F0502020204030204" pitchFamily="34" charset="0"/>
            </a:endParaRPr>
          </a:p>
        </p:txBody>
      </p:sp>
      <p:pic>
        <p:nvPicPr>
          <p:cNvPr id="38" name="Imagen 37" descr="Imagen que contiene Logotipo&#10;&#10;Descripción generada automáticamente">
            <a:extLst>
              <a:ext uri="{FF2B5EF4-FFF2-40B4-BE49-F238E27FC236}">
                <a16:creationId xmlns:a16="http://schemas.microsoft.com/office/drawing/2014/main" id="{0293EEA9-A8B6-5274-F741-270541E109B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2"/>
            <a:ext cx="7110930" cy="1060175"/>
          </a:xfrm>
          <a:prstGeom prst="rect">
            <a:avLst/>
          </a:prstGeom>
        </p:spPr>
      </p:pic>
      <p:pic>
        <p:nvPicPr>
          <p:cNvPr id="6" name="Imagen 5" descr="Logotipo&#10;&#10;Descripción generada automáticamente">
            <a:extLst>
              <a:ext uri="{FF2B5EF4-FFF2-40B4-BE49-F238E27FC236}">
                <a16:creationId xmlns:a16="http://schemas.microsoft.com/office/drawing/2014/main" id="{641CEC78-DF67-AF81-F6F6-04C790B150B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29800" y="530086"/>
            <a:ext cx="1905000" cy="698500"/>
          </a:xfrm>
          <a:prstGeom prst="rect">
            <a:avLst/>
          </a:prstGeom>
        </p:spPr>
      </p:pic>
      <p:sp>
        <p:nvSpPr>
          <p:cNvPr id="2" name="Title 2">
            <a:extLst>
              <a:ext uri="{FF2B5EF4-FFF2-40B4-BE49-F238E27FC236}">
                <a16:creationId xmlns:a16="http://schemas.microsoft.com/office/drawing/2014/main" id="{7007A042-9D8A-A218-CE1D-3C0A08723F7D}"/>
              </a:ext>
            </a:extLst>
          </p:cNvPr>
          <p:cNvSpPr>
            <a:spLocks noGrp="1"/>
          </p:cNvSpPr>
          <p:nvPr>
            <p:ph type="title"/>
          </p:nvPr>
        </p:nvSpPr>
        <p:spPr>
          <a:xfrm>
            <a:off x="1166026" y="2876614"/>
            <a:ext cx="7424334" cy="1327928"/>
          </a:xfrm>
        </p:spPr>
        <p:txBody>
          <a:bodyPr/>
          <a:lstStyle/>
          <a:p>
            <a:pPr>
              <a:lnSpc>
                <a:spcPts val="3500"/>
              </a:lnSpc>
              <a:spcBef>
                <a:spcPts val="0"/>
              </a:spcBef>
            </a:pPr>
            <a:br>
              <a:rPr lang="es-PE" sz="2800" dirty="0">
                <a:latin typeface="Source Sans Pro" panose="020B0503030403020204" pitchFamily="34" charset="0"/>
                <a:ea typeface="Source Sans Pro" panose="020B0503030403020204" pitchFamily="34" charset="0"/>
              </a:rPr>
            </a:br>
            <a:r>
              <a:rPr lang="es-MX" sz="2800" b="1" dirty="0">
                <a:solidFill>
                  <a:srgbClr val="3FA7A7"/>
                </a:solidFill>
                <a:latin typeface="Source Sans Pro"/>
                <a:ea typeface="Source Sans Pro"/>
                <a:cs typeface="Open Sans"/>
              </a:rPr>
              <a:t>Calidad del Dato</a:t>
            </a:r>
            <a:br>
              <a:rPr lang="es-MX" sz="2800" b="1" dirty="0">
                <a:latin typeface="Source Sans Pro" panose="020B0503030403020204" pitchFamily="34" charset="0"/>
                <a:ea typeface="Source Sans Pro" panose="020B0503030403020204" pitchFamily="34" charset="0"/>
                <a:cs typeface="Open Sans"/>
              </a:rPr>
            </a:br>
            <a:endParaRPr lang="es-MX" sz="2800" b="1" dirty="0">
              <a:solidFill>
                <a:srgbClr val="3FA7A7"/>
              </a:solidFill>
              <a:latin typeface="Source Sans Pro" panose="020B0503030403020204" pitchFamily="34" charset="0"/>
              <a:ea typeface="Source Sans Pro" panose="020B0503030403020204" pitchFamily="34" charset="0"/>
              <a:cs typeface="Open Sans"/>
            </a:endParaRPr>
          </a:p>
        </p:txBody>
      </p:sp>
      <p:cxnSp>
        <p:nvCxnSpPr>
          <p:cNvPr id="44" name="Straight Connector 43">
            <a:extLst>
              <a:ext uri="{FF2B5EF4-FFF2-40B4-BE49-F238E27FC236}">
                <a16:creationId xmlns:a16="http://schemas.microsoft.com/office/drawing/2014/main" id="{D859C379-5119-A51E-DEC3-0B6C816400C1}"/>
              </a:ext>
            </a:extLst>
          </p:cNvPr>
          <p:cNvCxnSpPr>
            <a:cxnSpLocks/>
          </p:cNvCxnSpPr>
          <p:nvPr/>
        </p:nvCxnSpPr>
        <p:spPr>
          <a:xfrm>
            <a:off x="1169210" y="3935205"/>
            <a:ext cx="4785867" cy="0"/>
          </a:xfrm>
          <a:prstGeom prst="line">
            <a:avLst/>
          </a:prstGeom>
          <a:noFill/>
          <a:ln w="19050" cap="flat" cmpd="sng" algn="ctr">
            <a:solidFill>
              <a:schemeClr val="tx1">
                <a:lumMod val="50000"/>
                <a:lumOff val="50000"/>
              </a:schemeClr>
            </a:solidFill>
            <a:prstDash val="solid"/>
            <a:miter lim="800000"/>
            <a:headEnd type="oval"/>
            <a:tailEnd type="oval"/>
          </a:ln>
          <a:effectLst/>
        </p:spPr>
      </p:cxnSp>
      <p:pic>
        <p:nvPicPr>
          <p:cNvPr id="49" name="Picture 2" descr="Resultado de imagen para minsur">
            <a:extLst>
              <a:ext uri="{FF2B5EF4-FFF2-40B4-BE49-F238E27FC236}">
                <a16:creationId xmlns:a16="http://schemas.microsoft.com/office/drawing/2014/main" id="{415EBBE5-082A-0432-7C6A-A1D02B79B40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60047" y="1144115"/>
            <a:ext cx="1615333" cy="411933"/>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Servicios – Ensys">
            <a:extLst>
              <a:ext uri="{FF2B5EF4-FFF2-40B4-BE49-F238E27FC236}">
                <a16:creationId xmlns:a16="http://schemas.microsoft.com/office/drawing/2014/main" id="{2A665F6C-B0A4-469B-E8D6-7566A8153AE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551552" y="1137692"/>
            <a:ext cx="2203160" cy="42477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Raura Compañía Minera">
            <a:extLst>
              <a:ext uri="{FF2B5EF4-FFF2-40B4-BE49-F238E27FC236}">
                <a16:creationId xmlns:a16="http://schemas.microsoft.com/office/drawing/2014/main" id="{37B9FDEB-0674-2F62-E722-D26DF72B64C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930884" y="1144115"/>
            <a:ext cx="395744" cy="41193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Compañía Minera Raura | LinkedIn">
            <a:extLst>
              <a:ext uri="{FF2B5EF4-FFF2-40B4-BE49-F238E27FC236}">
                <a16:creationId xmlns:a16="http://schemas.microsoft.com/office/drawing/2014/main" id="{D588C654-735E-EE5E-558E-080AC38D6CD3}"/>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32938" t="40358" r="-774" b="38386"/>
          <a:stretch>
            <a:fillRect/>
          </a:stretch>
        </p:blipFill>
        <p:spPr bwMode="auto">
          <a:xfrm>
            <a:off x="5449861" y="1283331"/>
            <a:ext cx="1292277" cy="404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8512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F98F08-0082-9D75-3E3A-F43FD2F70A80}"/>
            </a:ext>
          </a:extLst>
        </p:cNvPr>
        <p:cNvGrpSpPr/>
        <p:nvPr/>
      </p:nvGrpSpPr>
      <p:grpSpPr>
        <a:xfrm>
          <a:off x="0" y="0"/>
          <a:ext cx="0" cy="0"/>
          <a:chOff x="0" y="0"/>
          <a:chExt cx="0" cy="0"/>
        </a:xfrm>
      </p:grpSpPr>
      <p:sp>
        <p:nvSpPr>
          <p:cNvPr id="2" name="Rectángulo 1">
            <a:extLst>
              <a:ext uri="{FF2B5EF4-FFF2-40B4-BE49-F238E27FC236}">
                <a16:creationId xmlns:a16="http://schemas.microsoft.com/office/drawing/2014/main" id="{732CECEE-4C18-C973-D650-297265519478}"/>
              </a:ext>
            </a:extLst>
          </p:cNvPr>
          <p:cNvSpPr/>
          <p:nvPr/>
        </p:nvSpPr>
        <p:spPr>
          <a:xfrm>
            <a:off x="-1" y="-1"/>
            <a:ext cx="12192001" cy="6858001"/>
          </a:xfrm>
          <a:prstGeom prst="rect">
            <a:avLst/>
          </a:prstGeom>
          <a:noFill/>
        </p:spPr>
        <p:txBody>
          <a:bodyPr wrap="none" rtlCol="0">
            <a:spAutoFit/>
          </a:bodyPr>
          <a:lstStyle/>
          <a:p>
            <a:pPr algn="ctr"/>
            <a:endParaRPr lang="es-PE" sz="4000" b="1">
              <a:solidFill>
                <a:srgbClr val="3FA7A7"/>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Imagen 3" descr="Imagen que contiene Logotipo&#10;&#10;Descripción generada automáticamente">
            <a:extLst>
              <a:ext uri="{FF2B5EF4-FFF2-40B4-BE49-F238E27FC236}">
                <a16:creationId xmlns:a16="http://schemas.microsoft.com/office/drawing/2014/main" id="{E9856537-79E5-5C96-CB3F-227A0A71E9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042" y="-32085"/>
            <a:ext cx="7110930" cy="1060175"/>
          </a:xfrm>
          <a:prstGeom prst="rect">
            <a:avLst/>
          </a:prstGeom>
        </p:spPr>
      </p:pic>
      <p:pic>
        <p:nvPicPr>
          <p:cNvPr id="5" name="Imagen 4" descr="Logotipo&#10;&#10;Descripción generada automáticamente">
            <a:extLst>
              <a:ext uri="{FF2B5EF4-FFF2-40B4-BE49-F238E27FC236}">
                <a16:creationId xmlns:a16="http://schemas.microsoft.com/office/drawing/2014/main" id="{240B4C2D-66B7-89D7-1C42-8E38B8FC121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63003" y="289448"/>
            <a:ext cx="1905000" cy="698500"/>
          </a:xfrm>
          <a:prstGeom prst="rect">
            <a:avLst/>
          </a:prstGeom>
        </p:spPr>
      </p:pic>
      <p:sp>
        <p:nvSpPr>
          <p:cNvPr id="6" name="CuadroTexto 5">
            <a:extLst>
              <a:ext uri="{FF2B5EF4-FFF2-40B4-BE49-F238E27FC236}">
                <a16:creationId xmlns:a16="http://schemas.microsoft.com/office/drawing/2014/main" id="{91681AA3-4529-3782-E0EF-7F6DA91EA977}"/>
              </a:ext>
            </a:extLst>
          </p:cNvPr>
          <p:cNvSpPr txBox="1"/>
          <p:nvPr/>
        </p:nvSpPr>
        <p:spPr>
          <a:xfrm>
            <a:off x="967422" y="652662"/>
            <a:ext cx="8513379" cy="646331"/>
          </a:xfrm>
          <a:prstGeom prst="rect">
            <a:avLst/>
          </a:prstGeom>
          <a:noFill/>
        </p:spPr>
        <p:txBody>
          <a:bodyPr wrap="square" rtlCol="0">
            <a:spAutoFit/>
          </a:bodyPr>
          <a:lstStyle/>
          <a:p>
            <a:r>
              <a:rPr lang="es-PE" sz="2400" b="1" dirty="0">
                <a:solidFill>
                  <a:srgbClr val="3FA7A7"/>
                </a:solidFill>
                <a:latin typeface="Trebuchet MS"/>
              </a:rPr>
              <a:t>Reglas</a:t>
            </a:r>
            <a:r>
              <a:rPr lang="es-PE" sz="3600" b="1" dirty="0"/>
              <a:t> </a:t>
            </a:r>
            <a:r>
              <a:rPr lang="es-PE" sz="2400" b="1" dirty="0">
                <a:solidFill>
                  <a:srgbClr val="3FA7A7"/>
                </a:solidFill>
                <a:latin typeface="Trebuchet MS"/>
              </a:rPr>
              <a:t>de Calidad</a:t>
            </a:r>
          </a:p>
        </p:txBody>
      </p:sp>
      <p:graphicFrame>
        <p:nvGraphicFramePr>
          <p:cNvPr id="8" name="Diagrama 7">
            <a:extLst>
              <a:ext uri="{FF2B5EF4-FFF2-40B4-BE49-F238E27FC236}">
                <a16:creationId xmlns:a16="http://schemas.microsoft.com/office/drawing/2014/main" id="{1789CE8D-417E-8673-6E7A-4FFDA627BA61}"/>
              </a:ext>
            </a:extLst>
          </p:cNvPr>
          <p:cNvGraphicFramePr/>
          <p:nvPr/>
        </p:nvGraphicFramePr>
        <p:xfrm>
          <a:off x="2051475" y="1272230"/>
          <a:ext cx="8158411" cy="519598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9" name="CuadroTexto 8">
            <a:extLst>
              <a:ext uri="{FF2B5EF4-FFF2-40B4-BE49-F238E27FC236}">
                <a16:creationId xmlns:a16="http://schemas.microsoft.com/office/drawing/2014/main" id="{5D371CBA-57A5-62D0-A76F-55B3E2EF4F43}"/>
              </a:ext>
            </a:extLst>
          </p:cNvPr>
          <p:cNvSpPr txBox="1"/>
          <p:nvPr/>
        </p:nvSpPr>
        <p:spPr>
          <a:xfrm>
            <a:off x="4907906" y="930034"/>
            <a:ext cx="2376185" cy="400110"/>
          </a:xfrm>
          <a:prstGeom prst="rect">
            <a:avLst/>
          </a:prstGeom>
          <a:noFill/>
        </p:spPr>
        <p:txBody>
          <a:bodyPr wrap="square" rtlCol="0">
            <a:spAutoFit/>
          </a:bodyPr>
          <a:lstStyle/>
          <a:p>
            <a:pPr algn="ctr"/>
            <a:r>
              <a:rPr lang="es-PE" sz="2000" b="1" dirty="0"/>
              <a:t>Dimensiones</a:t>
            </a:r>
            <a:endParaRPr lang="es-PE" sz="1200" b="1" dirty="0"/>
          </a:p>
        </p:txBody>
      </p:sp>
      <p:sp>
        <p:nvSpPr>
          <p:cNvPr id="13" name="CuadroTexto 12">
            <a:extLst>
              <a:ext uri="{FF2B5EF4-FFF2-40B4-BE49-F238E27FC236}">
                <a16:creationId xmlns:a16="http://schemas.microsoft.com/office/drawing/2014/main" id="{8E87BD03-0FF6-F802-06AE-636198E5CB53}"/>
              </a:ext>
            </a:extLst>
          </p:cNvPr>
          <p:cNvSpPr txBox="1"/>
          <p:nvPr/>
        </p:nvSpPr>
        <p:spPr>
          <a:xfrm>
            <a:off x="8585200" y="1962861"/>
            <a:ext cx="2590800" cy="1077218"/>
          </a:xfrm>
          <a:prstGeom prst="rect">
            <a:avLst/>
          </a:prstGeom>
          <a:noFill/>
        </p:spPr>
        <p:txBody>
          <a:bodyPr wrap="square" rtlCol="0">
            <a:spAutoFit/>
          </a:bodyPr>
          <a:lstStyle/>
          <a:p>
            <a:pPr marL="285750" indent="-285750">
              <a:buFont typeface="Arial" panose="020B0604020202020204" pitchFamily="34" charset="0"/>
              <a:buChar char="•"/>
            </a:pPr>
            <a:r>
              <a:rPr lang="es-MX" sz="1600" dirty="0"/>
              <a:t>Tasa de valores no nulos (1).*</a:t>
            </a:r>
          </a:p>
          <a:p>
            <a:pPr marL="285750" indent="-285750">
              <a:buFont typeface="Arial" panose="020B0604020202020204" pitchFamily="34" charset="0"/>
              <a:buChar char="•"/>
            </a:pPr>
            <a:r>
              <a:rPr lang="es-MX" sz="1600" dirty="0"/>
              <a:t>Registros completos (2).*</a:t>
            </a:r>
            <a:endParaRPr lang="es-PE" sz="1600" dirty="0"/>
          </a:p>
        </p:txBody>
      </p:sp>
      <p:sp>
        <p:nvSpPr>
          <p:cNvPr id="14" name="CuadroTexto 13">
            <a:extLst>
              <a:ext uri="{FF2B5EF4-FFF2-40B4-BE49-F238E27FC236}">
                <a16:creationId xmlns:a16="http://schemas.microsoft.com/office/drawing/2014/main" id="{EA18FCF5-E8C9-B06B-EB60-F48D613C1A94}"/>
              </a:ext>
            </a:extLst>
          </p:cNvPr>
          <p:cNvSpPr txBox="1"/>
          <p:nvPr/>
        </p:nvSpPr>
        <p:spPr>
          <a:xfrm>
            <a:off x="8585200" y="4215537"/>
            <a:ext cx="2590800" cy="1323439"/>
          </a:xfrm>
          <a:prstGeom prst="rect">
            <a:avLst/>
          </a:prstGeom>
          <a:noFill/>
        </p:spPr>
        <p:txBody>
          <a:bodyPr wrap="square" rtlCol="0">
            <a:spAutoFit/>
          </a:bodyPr>
          <a:lstStyle/>
          <a:p>
            <a:pPr marL="285750" indent="-285750">
              <a:buFont typeface="Arial" panose="020B0604020202020204" pitchFamily="34" charset="0"/>
              <a:buChar char="•"/>
            </a:pPr>
            <a:r>
              <a:rPr lang="es-MX" sz="1600" dirty="0"/>
              <a:t>Tipo de dato y formato de fechas (3).</a:t>
            </a:r>
          </a:p>
          <a:p>
            <a:pPr marL="285750" indent="-285750">
              <a:buFont typeface="Arial" panose="020B0604020202020204" pitchFamily="34" charset="0"/>
              <a:buChar char="•"/>
            </a:pPr>
            <a:r>
              <a:rPr lang="es-MX" sz="1600" dirty="0"/>
              <a:t>Rangos numéricos (4).</a:t>
            </a:r>
          </a:p>
          <a:p>
            <a:pPr marL="285750" indent="-285750">
              <a:buFont typeface="Arial" panose="020B0604020202020204" pitchFamily="34" charset="0"/>
              <a:buChar char="•"/>
            </a:pPr>
            <a:r>
              <a:rPr lang="es-MX" sz="1600" dirty="0"/>
              <a:t>Formato de identificadores (5).</a:t>
            </a:r>
            <a:endParaRPr lang="es-PE" sz="1600" dirty="0"/>
          </a:p>
        </p:txBody>
      </p:sp>
      <p:sp>
        <p:nvSpPr>
          <p:cNvPr id="15" name="CuadroTexto 14">
            <a:extLst>
              <a:ext uri="{FF2B5EF4-FFF2-40B4-BE49-F238E27FC236}">
                <a16:creationId xmlns:a16="http://schemas.microsoft.com/office/drawing/2014/main" id="{55F59200-67F9-33F6-35C2-44FF6AE1F14F}"/>
              </a:ext>
            </a:extLst>
          </p:cNvPr>
          <p:cNvSpPr txBox="1"/>
          <p:nvPr/>
        </p:nvSpPr>
        <p:spPr>
          <a:xfrm>
            <a:off x="1016000" y="4215537"/>
            <a:ext cx="2590800" cy="584775"/>
          </a:xfrm>
          <a:prstGeom prst="rect">
            <a:avLst/>
          </a:prstGeom>
          <a:noFill/>
        </p:spPr>
        <p:txBody>
          <a:bodyPr wrap="square" rtlCol="0">
            <a:spAutoFit/>
          </a:bodyPr>
          <a:lstStyle/>
          <a:p>
            <a:pPr marL="285750" indent="-285750">
              <a:buFont typeface="Arial" panose="020B0604020202020204" pitchFamily="34" charset="0"/>
              <a:buChar char="•"/>
            </a:pPr>
            <a:r>
              <a:rPr lang="es-MX" sz="1600" dirty="0"/>
              <a:t>Consistencia de valores (6).</a:t>
            </a:r>
          </a:p>
        </p:txBody>
      </p:sp>
      <p:sp>
        <p:nvSpPr>
          <p:cNvPr id="16" name="CuadroTexto 15">
            <a:extLst>
              <a:ext uri="{FF2B5EF4-FFF2-40B4-BE49-F238E27FC236}">
                <a16:creationId xmlns:a16="http://schemas.microsoft.com/office/drawing/2014/main" id="{F4DEAE0C-86F5-C28C-6339-BC3DDD1C04E9}"/>
              </a:ext>
            </a:extLst>
          </p:cNvPr>
          <p:cNvSpPr txBox="1"/>
          <p:nvPr/>
        </p:nvSpPr>
        <p:spPr>
          <a:xfrm>
            <a:off x="1016000" y="2085971"/>
            <a:ext cx="2590800" cy="338554"/>
          </a:xfrm>
          <a:prstGeom prst="rect">
            <a:avLst/>
          </a:prstGeom>
          <a:noFill/>
        </p:spPr>
        <p:txBody>
          <a:bodyPr wrap="square" rtlCol="0">
            <a:spAutoFit/>
          </a:bodyPr>
          <a:lstStyle/>
          <a:p>
            <a:pPr marL="285750" indent="-285750">
              <a:buFont typeface="Arial" panose="020B0604020202020204" pitchFamily="34" charset="0"/>
              <a:buChar char="•"/>
            </a:pPr>
            <a:r>
              <a:rPr lang="es-MX" sz="1600" dirty="0"/>
              <a:t>Precisión decimal (7).</a:t>
            </a:r>
          </a:p>
        </p:txBody>
      </p:sp>
      <p:sp>
        <p:nvSpPr>
          <p:cNvPr id="17" name="CuadroTexto 16">
            <a:extLst>
              <a:ext uri="{FF2B5EF4-FFF2-40B4-BE49-F238E27FC236}">
                <a16:creationId xmlns:a16="http://schemas.microsoft.com/office/drawing/2014/main" id="{90DE4065-61E0-113D-77B1-E97190FF1BAF}"/>
              </a:ext>
            </a:extLst>
          </p:cNvPr>
          <p:cNvSpPr txBox="1"/>
          <p:nvPr/>
        </p:nvSpPr>
        <p:spPr>
          <a:xfrm>
            <a:off x="238338" y="6296855"/>
            <a:ext cx="9971548" cy="338554"/>
          </a:xfrm>
          <a:prstGeom prst="rect">
            <a:avLst/>
          </a:prstGeom>
          <a:noFill/>
        </p:spPr>
        <p:txBody>
          <a:bodyPr wrap="square" rtlCol="0">
            <a:spAutoFit/>
          </a:bodyPr>
          <a:lstStyle/>
          <a:p>
            <a:r>
              <a:rPr lang="es-MX" sz="1600" dirty="0"/>
              <a:t>* Reglas asociadas a la Política de Seguridad de Datos.</a:t>
            </a:r>
            <a:endParaRPr lang="es-PE" sz="1600" dirty="0"/>
          </a:p>
        </p:txBody>
      </p:sp>
      <p:pic>
        <p:nvPicPr>
          <p:cNvPr id="3" name="Imagen 2" descr="Imagen que contiene Logotipo&#10;&#10;Descripción generada automáticamente">
            <a:extLst>
              <a:ext uri="{FF2B5EF4-FFF2-40B4-BE49-F238E27FC236}">
                <a16:creationId xmlns:a16="http://schemas.microsoft.com/office/drawing/2014/main" id="{5F649973-51BB-8D8E-AA82-3C47E62477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800000">
            <a:off x="5081070" y="5797825"/>
            <a:ext cx="7110930" cy="1060175"/>
          </a:xfrm>
          <a:prstGeom prst="rect">
            <a:avLst/>
          </a:prstGeom>
        </p:spPr>
      </p:pic>
      <p:sp>
        <p:nvSpPr>
          <p:cNvPr id="7" name="CuadroTexto 6">
            <a:extLst>
              <a:ext uri="{FF2B5EF4-FFF2-40B4-BE49-F238E27FC236}">
                <a16:creationId xmlns:a16="http://schemas.microsoft.com/office/drawing/2014/main" id="{02A33749-E95A-B9DF-B265-78DE5447CABB}"/>
              </a:ext>
            </a:extLst>
          </p:cNvPr>
          <p:cNvSpPr txBox="1"/>
          <p:nvPr/>
        </p:nvSpPr>
        <p:spPr>
          <a:xfrm>
            <a:off x="6696593" y="6561598"/>
            <a:ext cx="6368013" cy="261610"/>
          </a:xfrm>
          <a:prstGeom prst="rect">
            <a:avLst/>
          </a:prstGeom>
          <a:noFill/>
        </p:spPr>
        <p:txBody>
          <a:bodyPr wrap="square" rtlCol="0">
            <a:spAutoFit/>
          </a:bodyPr>
          <a:lstStyle/>
          <a:p>
            <a:r>
              <a:rPr lang="es-ES" sz="1100" b="1" dirty="0"/>
              <a:t>Doc. De Referencia: </a:t>
            </a:r>
            <a:r>
              <a:rPr lang="pt-BR" sz="1100" b="1" dirty="0"/>
              <a:t>DG-POL-PCCD-MINS-001-Política Corporativo de </a:t>
            </a:r>
            <a:r>
              <a:rPr lang="pt-BR" sz="1100" b="1" dirty="0" err="1"/>
              <a:t>Calidad</a:t>
            </a:r>
            <a:r>
              <a:rPr lang="pt-BR" sz="1100" b="1" dirty="0"/>
              <a:t> de </a:t>
            </a:r>
            <a:r>
              <a:rPr lang="pt-BR" sz="1100" b="1" dirty="0" err="1"/>
              <a:t>Datos</a:t>
            </a:r>
            <a:r>
              <a:rPr lang="pt-BR" sz="1100" b="1" dirty="0"/>
              <a:t> v1.0</a:t>
            </a:r>
            <a:endParaRPr lang="es-PE" sz="1100" b="1" dirty="0"/>
          </a:p>
        </p:txBody>
      </p:sp>
    </p:spTree>
    <p:extLst>
      <p:ext uri="{BB962C8B-B14F-4D97-AF65-F5344CB8AC3E}">
        <p14:creationId xmlns:p14="http://schemas.microsoft.com/office/powerpoint/2010/main" val="9188765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7904FA-964D-924B-BF6E-897F8FA3ED76}"/>
            </a:ext>
          </a:extLst>
        </p:cNvPr>
        <p:cNvGrpSpPr/>
        <p:nvPr/>
      </p:nvGrpSpPr>
      <p:grpSpPr>
        <a:xfrm>
          <a:off x="0" y="0"/>
          <a:ext cx="0" cy="0"/>
          <a:chOff x="0" y="0"/>
          <a:chExt cx="0" cy="0"/>
        </a:xfrm>
      </p:grpSpPr>
      <p:sp>
        <p:nvSpPr>
          <p:cNvPr id="60" name="Rectángulo: esquinas redondeadas 59">
            <a:extLst>
              <a:ext uri="{FF2B5EF4-FFF2-40B4-BE49-F238E27FC236}">
                <a16:creationId xmlns:a16="http://schemas.microsoft.com/office/drawing/2014/main" id="{721DBA93-FD6A-45BB-B037-E78A5D5F0478}"/>
              </a:ext>
            </a:extLst>
          </p:cNvPr>
          <p:cNvSpPr/>
          <p:nvPr/>
        </p:nvSpPr>
        <p:spPr>
          <a:xfrm>
            <a:off x="6637901" y="2451947"/>
            <a:ext cx="1719781" cy="2372659"/>
          </a:xfrm>
          <a:prstGeom prst="roundRect">
            <a:avLst>
              <a:gd name="adj" fmla="val 12660"/>
            </a:avLst>
          </a:prstGeom>
          <a:noFill/>
          <a:ln w="12700">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60960" tIns="30480" rIns="60960" bIns="30480"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endParaRPr lang="es-ES" sz="1800">
              <a:solidFill>
                <a:schemeClr val="tx1"/>
              </a:solidFill>
              <a:ea typeface="Calibri"/>
              <a:cs typeface="Calibri"/>
            </a:endParaRPr>
          </a:p>
        </p:txBody>
      </p:sp>
      <p:sp>
        <p:nvSpPr>
          <p:cNvPr id="69" name="Rectángulo: esquinas redondeadas 68">
            <a:extLst>
              <a:ext uri="{FF2B5EF4-FFF2-40B4-BE49-F238E27FC236}">
                <a16:creationId xmlns:a16="http://schemas.microsoft.com/office/drawing/2014/main" id="{198B54DE-DE0C-4E34-B617-5EF66B66D7CC}"/>
              </a:ext>
            </a:extLst>
          </p:cNvPr>
          <p:cNvSpPr/>
          <p:nvPr/>
        </p:nvSpPr>
        <p:spPr>
          <a:xfrm>
            <a:off x="8517277" y="2459664"/>
            <a:ext cx="1719781" cy="2321810"/>
          </a:xfrm>
          <a:prstGeom prst="roundRect">
            <a:avLst>
              <a:gd name="adj" fmla="val 12660"/>
            </a:avLst>
          </a:prstGeom>
          <a:noFill/>
          <a:ln w="38100">
            <a:solidFill>
              <a:srgbClr val="EEDE10"/>
            </a:solidFill>
          </a:ln>
        </p:spPr>
        <p:style>
          <a:lnRef idx="2">
            <a:schemeClr val="accent1">
              <a:shade val="15000"/>
            </a:schemeClr>
          </a:lnRef>
          <a:fillRef idx="1">
            <a:schemeClr val="accent1"/>
          </a:fillRef>
          <a:effectRef idx="0">
            <a:schemeClr val="accent1"/>
          </a:effectRef>
          <a:fontRef idx="minor">
            <a:schemeClr val="lt1"/>
          </a:fontRef>
        </p:style>
        <p:txBody>
          <a:bodyPr lIns="60960" tIns="30480" rIns="60960" bIns="30480"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endParaRPr lang="es-ES" sz="1800">
              <a:solidFill>
                <a:schemeClr val="tx1"/>
              </a:solidFill>
              <a:ea typeface="Calibri"/>
              <a:cs typeface="Calibri"/>
            </a:endParaRPr>
          </a:p>
        </p:txBody>
      </p:sp>
      <p:sp>
        <p:nvSpPr>
          <p:cNvPr id="54" name="Rectángulo: esquinas redondeadas 53">
            <a:extLst>
              <a:ext uri="{FF2B5EF4-FFF2-40B4-BE49-F238E27FC236}">
                <a16:creationId xmlns:a16="http://schemas.microsoft.com/office/drawing/2014/main" id="{015C0E88-94A6-4C6E-BB57-C2DFBCC82BFA}"/>
              </a:ext>
            </a:extLst>
          </p:cNvPr>
          <p:cNvSpPr/>
          <p:nvPr/>
        </p:nvSpPr>
        <p:spPr>
          <a:xfrm>
            <a:off x="4868884" y="2423192"/>
            <a:ext cx="1677251" cy="2372659"/>
          </a:xfrm>
          <a:prstGeom prst="roundRect">
            <a:avLst>
              <a:gd name="adj" fmla="val 12660"/>
            </a:avLst>
          </a:prstGeom>
          <a:noFill/>
          <a:ln w="12700">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60960" tIns="30480" rIns="60960" bIns="30480"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endParaRPr lang="es-ES" sz="1800">
              <a:solidFill>
                <a:schemeClr val="tx1"/>
              </a:solidFill>
              <a:ea typeface="Calibri"/>
              <a:cs typeface="Calibri"/>
            </a:endParaRPr>
          </a:p>
        </p:txBody>
      </p:sp>
      <p:sp>
        <p:nvSpPr>
          <p:cNvPr id="46" name="CuadroTexto 1">
            <a:extLst>
              <a:ext uri="{FF2B5EF4-FFF2-40B4-BE49-F238E27FC236}">
                <a16:creationId xmlns:a16="http://schemas.microsoft.com/office/drawing/2014/main" id="{15C483AF-5011-48D1-A0B0-DB52FC6FF4B3}"/>
              </a:ext>
            </a:extLst>
          </p:cNvPr>
          <p:cNvSpPr txBox="1"/>
          <p:nvPr/>
        </p:nvSpPr>
        <p:spPr>
          <a:xfrm>
            <a:off x="1025237" y="545832"/>
            <a:ext cx="8909896" cy="581918"/>
          </a:xfrm>
          <a:prstGeom prst="rect">
            <a:avLst/>
          </a:prstGeom>
        </p:spPr>
        <p:txBody>
          <a:bodyPr vert="horz" lIns="121920" tIns="60960" rIns="121920" bIns="60960" rtlCol="0" anchor="ctr">
            <a:no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spcBef>
                <a:spcPct val="20000"/>
              </a:spcBef>
            </a:pPr>
            <a:r>
              <a:rPr lang="es-MX" sz="2000" b="1" dirty="0">
                <a:solidFill>
                  <a:srgbClr val="3FA7A7"/>
                </a:solidFill>
                <a:latin typeface="Trebuchet MS"/>
              </a:rPr>
              <a:t>Documento de Diccionario de Datos + Reglas de Calidad (cerrado y aprobado por el PO)</a:t>
            </a:r>
          </a:p>
        </p:txBody>
      </p:sp>
      <p:pic>
        <p:nvPicPr>
          <p:cNvPr id="48" name="Imagen 47" descr="Logotipo&#10;&#10;Descripción generada automáticamente">
            <a:extLst>
              <a:ext uri="{FF2B5EF4-FFF2-40B4-BE49-F238E27FC236}">
                <a16:creationId xmlns:a16="http://schemas.microsoft.com/office/drawing/2014/main" id="{B90B7C9C-301C-4847-A705-2FC23CDF6AE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76869" y="313099"/>
            <a:ext cx="1905000" cy="698500"/>
          </a:xfrm>
          <a:prstGeom prst="rect">
            <a:avLst/>
          </a:prstGeom>
        </p:spPr>
      </p:pic>
      <p:sp>
        <p:nvSpPr>
          <p:cNvPr id="49" name="Rectángulo: esquinas redondeadas 48">
            <a:extLst>
              <a:ext uri="{FF2B5EF4-FFF2-40B4-BE49-F238E27FC236}">
                <a16:creationId xmlns:a16="http://schemas.microsoft.com/office/drawing/2014/main" id="{CA72016F-C2C8-4DBB-9684-91D6BFB89311}"/>
              </a:ext>
            </a:extLst>
          </p:cNvPr>
          <p:cNvSpPr/>
          <p:nvPr/>
        </p:nvSpPr>
        <p:spPr>
          <a:xfrm>
            <a:off x="1293584" y="1354649"/>
            <a:ext cx="3430686" cy="300093"/>
          </a:xfrm>
          <a:prstGeom prst="roundRect">
            <a:avLst/>
          </a:prstGeom>
          <a:solidFill>
            <a:schemeClr val="bg1"/>
          </a:solidFill>
          <a:ln w="38100">
            <a:solidFill>
              <a:srgbClr val="FFC556"/>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r>
              <a:rPr lang="es-ES" sz="2400" b="1">
                <a:solidFill>
                  <a:schemeClr val="tx1"/>
                </a:solidFill>
              </a:rPr>
              <a:t>BRONZE</a:t>
            </a:r>
            <a:endParaRPr lang="es-PE" sz="2400" b="1">
              <a:solidFill>
                <a:schemeClr val="tx1"/>
              </a:solidFill>
            </a:endParaRPr>
          </a:p>
        </p:txBody>
      </p:sp>
      <p:sp>
        <p:nvSpPr>
          <p:cNvPr id="51" name="Rectángulo: esquinas redondeadas 50">
            <a:extLst>
              <a:ext uri="{FF2B5EF4-FFF2-40B4-BE49-F238E27FC236}">
                <a16:creationId xmlns:a16="http://schemas.microsoft.com/office/drawing/2014/main" id="{5FCA3D85-881E-400B-B39F-D8673475612A}"/>
              </a:ext>
            </a:extLst>
          </p:cNvPr>
          <p:cNvSpPr/>
          <p:nvPr/>
        </p:nvSpPr>
        <p:spPr>
          <a:xfrm>
            <a:off x="8589164" y="1308461"/>
            <a:ext cx="3387554" cy="306027"/>
          </a:xfrm>
          <a:prstGeom prst="roundRect">
            <a:avLst/>
          </a:prstGeom>
          <a:noFill/>
          <a:ln w="38100">
            <a:solidFill>
              <a:srgbClr val="EEDE10"/>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60960" tIns="30480" rIns="60960" bIns="30480"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r>
              <a:rPr lang="es-PE" sz="2400" b="1">
                <a:solidFill>
                  <a:schemeClr val="tx1"/>
                </a:solidFill>
              </a:rPr>
              <a:t>GOLD</a:t>
            </a:r>
            <a:endParaRPr lang="es-ES" sz="800"/>
          </a:p>
        </p:txBody>
      </p:sp>
      <p:sp>
        <p:nvSpPr>
          <p:cNvPr id="52" name="Rectángulo: esquinas redondeadas 51">
            <a:extLst>
              <a:ext uri="{FF2B5EF4-FFF2-40B4-BE49-F238E27FC236}">
                <a16:creationId xmlns:a16="http://schemas.microsoft.com/office/drawing/2014/main" id="{570C551C-1598-425D-8203-8D6478B7706C}"/>
              </a:ext>
            </a:extLst>
          </p:cNvPr>
          <p:cNvSpPr/>
          <p:nvPr/>
        </p:nvSpPr>
        <p:spPr>
          <a:xfrm>
            <a:off x="4898241" y="1297618"/>
            <a:ext cx="3430686" cy="306027"/>
          </a:xfrm>
          <a:prstGeom prst="roundRect">
            <a:avLst/>
          </a:prstGeom>
          <a:noFill/>
          <a:ln w="38100">
            <a:solidFill>
              <a:schemeClr val="bg1">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60960" tIns="30480" rIns="60960" bIns="30480"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r>
              <a:rPr lang="es-ES" sz="2400" b="1">
                <a:solidFill>
                  <a:schemeClr val="tx1"/>
                </a:solidFill>
                <a:latin typeface="Calibri"/>
                <a:ea typeface="Calibri"/>
                <a:cs typeface="Calibri"/>
              </a:rPr>
              <a:t>SILVER</a:t>
            </a:r>
            <a:endParaRPr lang="es-ES" sz="2400">
              <a:solidFill>
                <a:schemeClr val="tx1"/>
              </a:solidFill>
              <a:latin typeface="Calibri"/>
              <a:ea typeface="Calibri"/>
              <a:cs typeface="Calibri"/>
            </a:endParaRPr>
          </a:p>
        </p:txBody>
      </p:sp>
      <p:sp>
        <p:nvSpPr>
          <p:cNvPr id="55" name="Rectángulo: esquinas redondeadas 54">
            <a:extLst>
              <a:ext uri="{FF2B5EF4-FFF2-40B4-BE49-F238E27FC236}">
                <a16:creationId xmlns:a16="http://schemas.microsoft.com/office/drawing/2014/main" id="{8F8CE751-B7E2-477C-97AF-2FDA4EEA5747}"/>
              </a:ext>
            </a:extLst>
          </p:cNvPr>
          <p:cNvSpPr/>
          <p:nvPr/>
        </p:nvSpPr>
        <p:spPr>
          <a:xfrm>
            <a:off x="1274543" y="1776457"/>
            <a:ext cx="1646365" cy="588948"/>
          </a:xfrm>
          <a:prstGeom prst="roundRect">
            <a:avLst/>
          </a:prstGeom>
          <a:solidFill>
            <a:schemeClr val="bg1"/>
          </a:solidFill>
          <a:ln w="38100">
            <a:solidFill>
              <a:srgbClr val="FFC556"/>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r>
              <a:rPr lang="es-ES" sz="1333" b="1">
                <a:solidFill>
                  <a:schemeClr val="tx1"/>
                </a:solidFill>
              </a:rPr>
              <a:t>PRE-LANDING</a:t>
            </a:r>
            <a:endParaRPr lang="es-PE" sz="1333" b="1">
              <a:solidFill>
                <a:schemeClr val="tx1"/>
              </a:solidFill>
            </a:endParaRPr>
          </a:p>
        </p:txBody>
      </p:sp>
      <p:sp>
        <p:nvSpPr>
          <p:cNvPr id="59" name="Rectángulo: esquinas redondeadas 58">
            <a:extLst>
              <a:ext uri="{FF2B5EF4-FFF2-40B4-BE49-F238E27FC236}">
                <a16:creationId xmlns:a16="http://schemas.microsoft.com/office/drawing/2014/main" id="{AB3559AC-CED3-4FEE-9890-A9C8BAEDC8BE}"/>
              </a:ext>
            </a:extLst>
          </p:cNvPr>
          <p:cNvSpPr/>
          <p:nvPr/>
        </p:nvSpPr>
        <p:spPr>
          <a:xfrm>
            <a:off x="3058852" y="1777503"/>
            <a:ext cx="1646365" cy="588948"/>
          </a:xfrm>
          <a:prstGeom prst="roundRect">
            <a:avLst/>
          </a:prstGeom>
          <a:solidFill>
            <a:schemeClr val="bg1"/>
          </a:solidFill>
          <a:ln w="38100">
            <a:solidFill>
              <a:srgbClr val="FFC556"/>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r>
              <a:rPr lang="es-ES" sz="1333" b="1">
                <a:solidFill>
                  <a:schemeClr val="tx1"/>
                </a:solidFill>
              </a:rPr>
              <a:t>LANDING</a:t>
            </a:r>
            <a:endParaRPr lang="es-PE" sz="1333" b="1">
              <a:solidFill>
                <a:schemeClr val="tx1"/>
              </a:solidFill>
            </a:endParaRPr>
          </a:p>
        </p:txBody>
      </p:sp>
      <p:sp>
        <p:nvSpPr>
          <p:cNvPr id="61" name="Rectángulo: esquinas redondeadas 60">
            <a:extLst>
              <a:ext uri="{FF2B5EF4-FFF2-40B4-BE49-F238E27FC236}">
                <a16:creationId xmlns:a16="http://schemas.microsoft.com/office/drawing/2014/main" id="{1309FDA8-110A-493D-9812-0FB990B2AE43}"/>
              </a:ext>
            </a:extLst>
          </p:cNvPr>
          <p:cNvSpPr/>
          <p:nvPr/>
        </p:nvSpPr>
        <p:spPr>
          <a:xfrm>
            <a:off x="8520733" y="1733508"/>
            <a:ext cx="1646365" cy="588948"/>
          </a:xfrm>
          <a:prstGeom prst="roundRect">
            <a:avLst/>
          </a:prstGeom>
          <a:noFill/>
          <a:ln w="38100">
            <a:solidFill>
              <a:srgbClr val="EEDE10"/>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60960" tIns="30480" rIns="60960" bIns="30480"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r>
              <a:rPr lang="es-ES" sz="1333" b="1">
                <a:solidFill>
                  <a:schemeClr val="tx1"/>
                </a:solidFill>
              </a:rPr>
              <a:t>ENRICHMENT</a:t>
            </a:r>
            <a:endParaRPr lang="es-ES" sz="800">
              <a:solidFill>
                <a:schemeClr val="tx1"/>
              </a:solidFill>
            </a:endParaRPr>
          </a:p>
        </p:txBody>
      </p:sp>
      <p:sp>
        <p:nvSpPr>
          <p:cNvPr id="62" name="Rectángulo: esquinas redondeadas 61">
            <a:extLst>
              <a:ext uri="{FF2B5EF4-FFF2-40B4-BE49-F238E27FC236}">
                <a16:creationId xmlns:a16="http://schemas.microsoft.com/office/drawing/2014/main" id="{342CFA6C-3D90-42AC-BCA7-D00E59B128F4}"/>
              </a:ext>
            </a:extLst>
          </p:cNvPr>
          <p:cNvSpPr/>
          <p:nvPr/>
        </p:nvSpPr>
        <p:spPr>
          <a:xfrm>
            <a:off x="4868883" y="1733508"/>
            <a:ext cx="1646365" cy="588948"/>
          </a:xfrm>
          <a:prstGeom prst="roundRect">
            <a:avLst/>
          </a:prstGeom>
          <a:noFill/>
          <a:ln w="38100">
            <a:solidFill>
              <a:schemeClr val="bg1">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60960" tIns="30480" rIns="60960" bIns="30480"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r>
              <a:rPr lang="es-ES" sz="1333" b="1">
                <a:solidFill>
                  <a:schemeClr val="tx1"/>
                </a:solidFill>
              </a:rPr>
              <a:t>QUALITY</a:t>
            </a:r>
            <a:endParaRPr lang="es-ES" sz="800">
              <a:solidFill>
                <a:schemeClr val="tx1"/>
              </a:solidFill>
            </a:endParaRPr>
          </a:p>
        </p:txBody>
      </p:sp>
      <p:sp>
        <p:nvSpPr>
          <p:cNvPr id="64" name="Rectángulo: esquinas redondeadas 63">
            <a:extLst>
              <a:ext uri="{FF2B5EF4-FFF2-40B4-BE49-F238E27FC236}">
                <a16:creationId xmlns:a16="http://schemas.microsoft.com/office/drawing/2014/main" id="{CCD5F5E0-5F3B-492D-81EE-054BD5FD9087}"/>
              </a:ext>
            </a:extLst>
          </p:cNvPr>
          <p:cNvSpPr/>
          <p:nvPr/>
        </p:nvSpPr>
        <p:spPr>
          <a:xfrm>
            <a:off x="10328824" y="2443609"/>
            <a:ext cx="1719781" cy="2323487"/>
          </a:xfrm>
          <a:prstGeom prst="roundRect">
            <a:avLst>
              <a:gd name="adj" fmla="val 12660"/>
            </a:avLst>
          </a:prstGeom>
          <a:noFill/>
          <a:ln w="38100">
            <a:solidFill>
              <a:srgbClr val="EEDE10"/>
            </a:solidFill>
          </a:ln>
        </p:spPr>
        <p:style>
          <a:lnRef idx="2">
            <a:schemeClr val="accent1">
              <a:shade val="15000"/>
            </a:schemeClr>
          </a:lnRef>
          <a:fillRef idx="1">
            <a:schemeClr val="accent1"/>
          </a:fillRef>
          <a:effectRef idx="0">
            <a:schemeClr val="accent1"/>
          </a:effectRef>
          <a:fontRef idx="minor">
            <a:schemeClr val="lt1"/>
          </a:fontRef>
        </p:style>
        <p:txBody>
          <a:bodyPr lIns="60960" tIns="30480" rIns="60960" bIns="30480"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endParaRPr lang="es-ES" sz="1800">
              <a:solidFill>
                <a:schemeClr val="tx1"/>
              </a:solidFill>
              <a:ea typeface="Calibri"/>
              <a:cs typeface="Calibri"/>
            </a:endParaRPr>
          </a:p>
        </p:txBody>
      </p:sp>
      <p:sp>
        <p:nvSpPr>
          <p:cNvPr id="63" name="Rectángulo: esquinas redondeadas 62">
            <a:extLst>
              <a:ext uri="{FF2B5EF4-FFF2-40B4-BE49-F238E27FC236}">
                <a16:creationId xmlns:a16="http://schemas.microsoft.com/office/drawing/2014/main" id="{6F3A04E6-9B88-4BC0-BE14-64BC2FE1E679}"/>
              </a:ext>
            </a:extLst>
          </p:cNvPr>
          <p:cNvSpPr/>
          <p:nvPr/>
        </p:nvSpPr>
        <p:spPr>
          <a:xfrm>
            <a:off x="10404167" y="1733507"/>
            <a:ext cx="1646365" cy="588948"/>
          </a:xfrm>
          <a:prstGeom prst="roundRect">
            <a:avLst/>
          </a:prstGeom>
          <a:noFill/>
          <a:ln w="38100">
            <a:solidFill>
              <a:srgbClr val="EEDE10"/>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60960" tIns="30480" rIns="60960" bIns="30480"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r>
              <a:rPr lang="es-ES" sz="1333" b="1">
                <a:solidFill>
                  <a:schemeClr val="tx1"/>
                </a:solidFill>
              </a:rPr>
              <a:t>FUNCTIONAL</a:t>
            </a:r>
            <a:endParaRPr lang="es-ES" sz="800"/>
          </a:p>
        </p:txBody>
      </p:sp>
      <p:sp>
        <p:nvSpPr>
          <p:cNvPr id="65" name="Rectángulo: esquinas redondeadas 64">
            <a:extLst>
              <a:ext uri="{FF2B5EF4-FFF2-40B4-BE49-F238E27FC236}">
                <a16:creationId xmlns:a16="http://schemas.microsoft.com/office/drawing/2014/main" id="{C78E6A2C-7205-4FCA-A3F5-8ACDA4311847}"/>
              </a:ext>
            </a:extLst>
          </p:cNvPr>
          <p:cNvSpPr/>
          <p:nvPr/>
        </p:nvSpPr>
        <p:spPr>
          <a:xfrm>
            <a:off x="6680431" y="1733508"/>
            <a:ext cx="1646365" cy="588948"/>
          </a:xfrm>
          <a:prstGeom prst="roundRect">
            <a:avLst/>
          </a:prstGeom>
          <a:noFill/>
          <a:ln w="38100">
            <a:solidFill>
              <a:schemeClr val="bg1">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60960" tIns="30480" rIns="60960" bIns="30480"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r>
              <a:rPr lang="es-ES" sz="1333" b="1">
                <a:solidFill>
                  <a:schemeClr val="tx1"/>
                </a:solidFill>
              </a:rPr>
              <a:t>CURATED</a:t>
            </a:r>
            <a:endParaRPr lang="es-ES" sz="800">
              <a:solidFill>
                <a:schemeClr val="tx1"/>
              </a:solidFill>
            </a:endParaRPr>
          </a:p>
        </p:txBody>
      </p:sp>
      <p:sp>
        <p:nvSpPr>
          <p:cNvPr id="67" name="Rectángulo: esquinas redondeadas 66">
            <a:extLst>
              <a:ext uri="{FF2B5EF4-FFF2-40B4-BE49-F238E27FC236}">
                <a16:creationId xmlns:a16="http://schemas.microsoft.com/office/drawing/2014/main" id="{E635CF7A-1AA6-4998-B240-4D7244CEB901}"/>
              </a:ext>
            </a:extLst>
          </p:cNvPr>
          <p:cNvSpPr/>
          <p:nvPr/>
        </p:nvSpPr>
        <p:spPr>
          <a:xfrm>
            <a:off x="24144" y="4622438"/>
            <a:ext cx="3564676" cy="1518152"/>
          </a:xfrm>
          <a:prstGeom prst="roundRect">
            <a:avLst>
              <a:gd name="adj" fmla="val 5803"/>
            </a:avLst>
          </a:prstGeom>
          <a:ln/>
        </p:spPr>
        <p:style>
          <a:lnRef idx="2">
            <a:schemeClr val="accent1"/>
          </a:lnRef>
          <a:fillRef idx="1">
            <a:schemeClr val="lt1"/>
          </a:fillRef>
          <a:effectRef idx="0">
            <a:schemeClr val="accent1"/>
          </a:effectRef>
          <a:fontRef idx="minor">
            <a:schemeClr val="dk1"/>
          </a:fontRef>
        </p:style>
        <p:txBody>
          <a:bodyPr lIns="60960" tIns="30480" rIns="60960" bIns="30480"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r>
              <a:rPr lang="es-ES" sz="933" b="1">
                <a:solidFill>
                  <a:schemeClr val="tx1"/>
                </a:solidFill>
                <a:latin typeface="Source Sans Pro"/>
                <a:ea typeface="+mn-lt"/>
                <a:cs typeface="+mn-lt"/>
              </a:rPr>
              <a:t>Reglas de calidad</a:t>
            </a:r>
          </a:p>
          <a:p>
            <a:endParaRPr lang="es-ES" sz="933" b="1">
              <a:solidFill>
                <a:schemeClr val="tx1"/>
              </a:solidFill>
              <a:latin typeface="Source Sans Pro"/>
              <a:ea typeface="+mn-lt"/>
              <a:cs typeface="+mn-lt"/>
            </a:endParaRPr>
          </a:p>
          <a:p>
            <a:r>
              <a:rPr lang="es-MX" sz="933"/>
              <a:t>1 No nulos (llaves)</a:t>
            </a:r>
          </a:p>
          <a:p>
            <a:r>
              <a:rPr lang="es-MX" sz="933"/>
              <a:t>2 Campos obligatorios estén completos</a:t>
            </a:r>
          </a:p>
          <a:p>
            <a:r>
              <a:rPr lang="es-MX" sz="933"/>
              <a:t>3 Tipo de dato precisando en fecha</a:t>
            </a:r>
          </a:p>
          <a:p>
            <a:r>
              <a:rPr lang="es-MX" sz="933"/>
              <a:t>4 rango numérico</a:t>
            </a:r>
          </a:p>
          <a:p>
            <a:r>
              <a:rPr lang="es-MX" sz="900"/>
              <a:t>5 Expresión regulares</a:t>
            </a:r>
          </a:p>
          <a:p>
            <a:r>
              <a:rPr lang="es-MX" sz="933"/>
              <a:t>6 Consistencia de valores (lista)</a:t>
            </a:r>
          </a:p>
          <a:p>
            <a:r>
              <a:rPr lang="es-MX" sz="900"/>
              <a:t>7 Precisión decimal </a:t>
            </a:r>
          </a:p>
        </p:txBody>
      </p:sp>
      <p:pic>
        <p:nvPicPr>
          <p:cNvPr id="68" name="Imagen 67" descr="Logotipo&#10;&#10;Descripción generada automáticamente">
            <a:extLst>
              <a:ext uri="{FF2B5EF4-FFF2-40B4-BE49-F238E27FC236}">
                <a16:creationId xmlns:a16="http://schemas.microsoft.com/office/drawing/2014/main" id="{48E8EC05-B61E-40E7-80BE-E6D4D15A49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76869" y="313099"/>
            <a:ext cx="1905000" cy="698500"/>
          </a:xfrm>
          <a:prstGeom prst="rect">
            <a:avLst/>
          </a:prstGeom>
        </p:spPr>
      </p:pic>
      <p:sp>
        <p:nvSpPr>
          <p:cNvPr id="70" name="Rectángulo: esquinas redondeadas 69">
            <a:extLst>
              <a:ext uri="{FF2B5EF4-FFF2-40B4-BE49-F238E27FC236}">
                <a16:creationId xmlns:a16="http://schemas.microsoft.com/office/drawing/2014/main" id="{7CE35523-1229-4624-BB67-08A7490A41D9}"/>
              </a:ext>
            </a:extLst>
          </p:cNvPr>
          <p:cNvSpPr/>
          <p:nvPr/>
        </p:nvSpPr>
        <p:spPr>
          <a:xfrm>
            <a:off x="140249" y="6551671"/>
            <a:ext cx="5279023" cy="251286"/>
          </a:xfrm>
          <a:prstGeom prst="roundRect">
            <a:avLst/>
          </a:prstGeom>
          <a:ln/>
        </p:spPr>
        <p:style>
          <a:lnRef idx="2">
            <a:schemeClr val="accent1"/>
          </a:lnRef>
          <a:fillRef idx="1">
            <a:schemeClr val="lt1"/>
          </a:fillRef>
          <a:effectRef idx="0">
            <a:schemeClr val="accent1"/>
          </a:effectRef>
          <a:fontRef idx="minor">
            <a:schemeClr val="dk1"/>
          </a:fontRef>
        </p:style>
        <p:txBody>
          <a:bodyPr lIns="60960" tIns="30480" rIns="60960" bIns="30480"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r>
              <a:rPr lang="es-MX" sz="1300"/>
              <a:t>            Llenar las 3 tablas: data_quality_log, remediación_datos, rejected</a:t>
            </a:r>
          </a:p>
        </p:txBody>
      </p:sp>
      <p:sp>
        <p:nvSpPr>
          <p:cNvPr id="73" name="Rectángulo: esquinas redondeadas 27">
            <a:extLst>
              <a:ext uri="{FF2B5EF4-FFF2-40B4-BE49-F238E27FC236}">
                <a16:creationId xmlns:a16="http://schemas.microsoft.com/office/drawing/2014/main" id="{D9A489A5-244D-4089-BE72-A90445EF7C14}"/>
              </a:ext>
            </a:extLst>
          </p:cNvPr>
          <p:cNvSpPr/>
          <p:nvPr/>
        </p:nvSpPr>
        <p:spPr>
          <a:xfrm>
            <a:off x="1294516" y="2482816"/>
            <a:ext cx="1063371" cy="1156673"/>
          </a:xfrm>
          <a:prstGeom prst="roundRect">
            <a:avLst>
              <a:gd name="adj" fmla="val 12660"/>
            </a:avLst>
          </a:prstGeom>
          <a:solidFill>
            <a:schemeClr val="bg1"/>
          </a:solidFill>
          <a:ln w="38100">
            <a:solidFill>
              <a:srgbClr val="FFC55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endParaRPr lang="es-PE" sz="1800">
              <a:solidFill>
                <a:schemeClr val="tx1"/>
              </a:solidFill>
            </a:endParaRPr>
          </a:p>
        </p:txBody>
      </p:sp>
      <p:sp>
        <p:nvSpPr>
          <p:cNvPr id="74" name="Rectángulo: esquinas redondeadas 27">
            <a:extLst>
              <a:ext uri="{FF2B5EF4-FFF2-40B4-BE49-F238E27FC236}">
                <a16:creationId xmlns:a16="http://schemas.microsoft.com/office/drawing/2014/main" id="{DA59B3E1-CA58-4CCC-BDEE-B9ADAEEA9E8A}"/>
              </a:ext>
            </a:extLst>
          </p:cNvPr>
          <p:cNvSpPr/>
          <p:nvPr/>
        </p:nvSpPr>
        <p:spPr>
          <a:xfrm>
            <a:off x="2477362" y="2482816"/>
            <a:ext cx="1063371" cy="1156673"/>
          </a:xfrm>
          <a:prstGeom prst="roundRect">
            <a:avLst>
              <a:gd name="adj" fmla="val 12660"/>
            </a:avLst>
          </a:prstGeom>
          <a:solidFill>
            <a:schemeClr val="bg1"/>
          </a:solidFill>
          <a:ln w="38100">
            <a:solidFill>
              <a:srgbClr val="FFC55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endParaRPr lang="es-PE" sz="1800">
              <a:solidFill>
                <a:schemeClr val="tx1"/>
              </a:solidFill>
            </a:endParaRPr>
          </a:p>
        </p:txBody>
      </p:sp>
      <p:sp>
        <p:nvSpPr>
          <p:cNvPr id="75" name="Rectángulo: esquinas redondeadas 27">
            <a:extLst>
              <a:ext uri="{FF2B5EF4-FFF2-40B4-BE49-F238E27FC236}">
                <a16:creationId xmlns:a16="http://schemas.microsoft.com/office/drawing/2014/main" id="{ED6C6951-25B8-46F1-A8F6-57D9281C65EF}"/>
              </a:ext>
            </a:extLst>
          </p:cNvPr>
          <p:cNvSpPr/>
          <p:nvPr/>
        </p:nvSpPr>
        <p:spPr>
          <a:xfrm>
            <a:off x="3644352" y="2482814"/>
            <a:ext cx="1063371" cy="1156674"/>
          </a:xfrm>
          <a:prstGeom prst="roundRect">
            <a:avLst>
              <a:gd name="adj" fmla="val 12660"/>
            </a:avLst>
          </a:prstGeom>
          <a:solidFill>
            <a:schemeClr val="bg1"/>
          </a:solidFill>
          <a:ln w="38100">
            <a:solidFill>
              <a:srgbClr val="FFC55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endParaRPr lang="es-PE" sz="1800">
              <a:solidFill>
                <a:schemeClr val="tx1"/>
              </a:solidFill>
            </a:endParaRPr>
          </a:p>
        </p:txBody>
      </p:sp>
      <p:cxnSp>
        <p:nvCxnSpPr>
          <p:cNvPr id="76" name="Conector angular 7">
            <a:extLst>
              <a:ext uri="{FF2B5EF4-FFF2-40B4-BE49-F238E27FC236}">
                <a16:creationId xmlns:a16="http://schemas.microsoft.com/office/drawing/2014/main" id="{8BDA0368-31B0-4160-AE89-386EB9596B72}"/>
              </a:ext>
            </a:extLst>
          </p:cNvPr>
          <p:cNvCxnSpPr>
            <a:cxnSpLocks/>
          </p:cNvCxnSpPr>
          <p:nvPr/>
        </p:nvCxnSpPr>
        <p:spPr>
          <a:xfrm>
            <a:off x="758700" y="1039083"/>
            <a:ext cx="477376" cy="465612"/>
          </a:xfrm>
          <a:prstGeom prst="bentConnector3">
            <a:avLst>
              <a:gd name="adj1" fmla="val -45166"/>
            </a:avLst>
          </a:prstGeom>
          <a:ln w="28575">
            <a:solidFill>
              <a:srgbClr val="FFC556"/>
            </a:solidFill>
            <a:tailEnd type="triangle"/>
          </a:ln>
        </p:spPr>
        <p:style>
          <a:lnRef idx="1">
            <a:schemeClr val="accent1"/>
          </a:lnRef>
          <a:fillRef idx="0">
            <a:schemeClr val="accent1"/>
          </a:fillRef>
          <a:effectRef idx="0">
            <a:schemeClr val="accent1"/>
          </a:effectRef>
          <a:fontRef idx="minor">
            <a:schemeClr val="tx1"/>
          </a:fontRef>
        </p:style>
      </p:cxnSp>
      <p:sp>
        <p:nvSpPr>
          <p:cNvPr id="78" name="Rectángulo 77">
            <a:extLst>
              <a:ext uri="{FF2B5EF4-FFF2-40B4-BE49-F238E27FC236}">
                <a16:creationId xmlns:a16="http://schemas.microsoft.com/office/drawing/2014/main" id="{4EA095B5-2D37-419F-B9C8-20612F7864BC}"/>
              </a:ext>
            </a:extLst>
          </p:cNvPr>
          <p:cNvSpPr/>
          <p:nvPr/>
        </p:nvSpPr>
        <p:spPr>
          <a:xfrm>
            <a:off x="1402086" y="2774252"/>
            <a:ext cx="736503" cy="521137"/>
          </a:xfrm>
          <a:prstGeom prst="rect">
            <a:avLst/>
          </a:prstGeom>
          <a:solidFill>
            <a:schemeClr val="bg1"/>
          </a:solidFill>
          <a:ln>
            <a:solidFill>
              <a:srgbClr val="FFC556"/>
            </a:solidFill>
          </a:ln>
        </p:spPr>
        <p:style>
          <a:lnRef idx="1">
            <a:schemeClr val="accent6"/>
          </a:lnRef>
          <a:fillRef idx="2">
            <a:schemeClr val="accent6"/>
          </a:fillRef>
          <a:effectRef idx="1">
            <a:schemeClr val="accent6"/>
          </a:effectRef>
          <a:fontRef idx="minor">
            <a:schemeClr val="dk1"/>
          </a:fontRef>
        </p:style>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r>
              <a:rPr lang="es-MX" sz="800"/>
              <a:t>Share</a:t>
            </a:r>
          </a:p>
          <a:p>
            <a:pPr algn="ctr"/>
            <a:r>
              <a:rPr lang="es-MX" sz="800"/>
              <a:t>Pi</a:t>
            </a:r>
          </a:p>
          <a:p>
            <a:pPr algn="ctr"/>
            <a:r>
              <a:rPr lang="es-MX" sz="800" err="1"/>
              <a:t>sap</a:t>
            </a:r>
            <a:endParaRPr lang="es-PE" sz="800"/>
          </a:p>
        </p:txBody>
      </p:sp>
      <p:sp>
        <p:nvSpPr>
          <p:cNvPr id="79" name="Rectángulo 78">
            <a:extLst>
              <a:ext uri="{FF2B5EF4-FFF2-40B4-BE49-F238E27FC236}">
                <a16:creationId xmlns:a16="http://schemas.microsoft.com/office/drawing/2014/main" id="{73B56A50-1C9B-4CB7-81F3-C695B5098770}"/>
              </a:ext>
            </a:extLst>
          </p:cNvPr>
          <p:cNvSpPr/>
          <p:nvPr/>
        </p:nvSpPr>
        <p:spPr>
          <a:xfrm>
            <a:off x="2633018" y="2707270"/>
            <a:ext cx="726670" cy="655101"/>
          </a:xfrm>
          <a:prstGeom prst="rect">
            <a:avLst/>
          </a:prstGeom>
          <a:solidFill>
            <a:schemeClr val="bg1"/>
          </a:solidFill>
          <a:ln>
            <a:solidFill>
              <a:srgbClr val="FFC556"/>
            </a:solidFill>
          </a:ln>
        </p:spPr>
        <p:style>
          <a:lnRef idx="1">
            <a:schemeClr val="accent6"/>
          </a:lnRef>
          <a:fillRef idx="2">
            <a:schemeClr val="accent6"/>
          </a:fillRef>
          <a:effectRef idx="1">
            <a:schemeClr val="accent6"/>
          </a:effectRef>
          <a:fontRef idx="minor">
            <a:schemeClr val="dk1"/>
          </a:fontRef>
        </p:style>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r>
              <a:rPr lang="es-MX" sz="800">
                <a:solidFill>
                  <a:schemeClr val="tx1"/>
                </a:solidFill>
              </a:rPr>
              <a:t>No aplican reglas</a:t>
            </a:r>
            <a:endParaRPr lang="es-PE" sz="800">
              <a:solidFill>
                <a:schemeClr val="tx1"/>
              </a:solidFill>
            </a:endParaRPr>
          </a:p>
        </p:txBody>
      </p:sp>
      <p:sp>
        <p:nvSpPr>
          <p:cNvPr id="80" name="Rectángulo 79">
            <a:extLst>
              <a:ext uri="{FF2B5EF4-FFF2-40B4-BE49-F238E27FC236}">
                <a16:creationId xmlns:a16="http://schemas.microsoft.com/office/drawing/2014/main" id="{2EE67C54-5639-4BD8-B7BA-D5CF4813B13D}"/>
              </a:ext>
            </a:extLst>
          </p:cNvPr>
          <p:cNvSpPr/>
          <p:nvPr/>
        </p:nvSpPr>
        <p:spPr>
          <a:xfrm>
            <a:off x="3814835" y="2709341"/>
            <a:ext cx="726670" cy="655101"/>
          </a:xfrm>
          <a:prstGeom prst="rect">
            <a:avLst/>
          </a:prstGeom>
          <a:solidFill>
            <a:schemeClr val="bg1"/>
          </a:solidFill>
          <a:ln>
            <a:solidFill>
              <a:srgbClr val="FFC556"/>
            </a:solidFill>
          </a:ln>
        </p:spPr>
        <p:style>
          <a:lnRef idx="1">
            <a:schemeClr val="accent6"/>
          </a:lnRef>
          <a:fillRef idx="2">
            <a:schemeClr val="accent6"/>
          </a:fillRef>
          <a:effectRef idx="1">
            <a:schemeClr val="accent6"/>
          </a:effectRef>
          <a:fontRef idx="minor">
            <a:schemeClr val="dk1"/>
          </a:fontRef>
        </p:style>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r>
              <a:rPr lang="es-MX" sz="800"/>
              <a:t>Tablas (</a:t>
            </a:r>
            <a:r>
              <a:rPr lang="es-MX" sz="800" err="1"/>
              <a:t>sh,pi,sap</a:t>
            </a:r>
            <a:r>
              <a:rPr lang="es-MX" sz="800"/>
              <a:t>)</a:t>
            </a:r>
            <a:endParaRPr lang="es-PE" sz="800"/>
          </a:p>
        </p:txBody>
      </p:sp>
      <p:cxnSp>
        <p:nvCxnSpPr>
          <p:cNvPr id="81" name="Conector recto de flecha 80">
            <a:extLst>
              <a:ext uri="{FF2B5EF4-FFF2-40B4-BE49-F238E27FC236}">
                <a16:creationId xmlns:a16="http://schemas.microsoft.com/office/drawing/2014/main" id="{172F70C7-43C5-41B3-9A6D-2F3D0E698F07}"/>
              </a:ext>
            </a:extLst>
          </p:cNvPr>
          <p:cNvCxnSpPr>
            <a:cxnSpLocks/>
          </p:cNvCxnSpPr>
          <p:nvPr/>
        </p:nvCxnSpPr>
        <p:spPr>
          <a:xfrm>
            <a:off x="2138590" y="3034821"/>
            <a:ext cx="49442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2" name="Conector recto de flecha 81">
            <a:extLst>
              <a:ext uri="{FF2B5EF4-FFF2-40B4-BE49-F238E27FC236}">
                <a16:creationId xmlns:a16="http://schemas.microsoft.com/office/drawing/2014/main" id="{482DA62E-D826-4CC3-90A4-E2DFA0306127}"/>
              </a:ext>
            </a:extLst>
          </p:cNvPr>
          <p:cNvCxnSpPr>
            <a:cxnSpLocks/>
          </p:cNvCxnSpPr>
          <p:nvPr/>
        </p:nvCxnSpPr>
        <p:spPr>
          <a:xfrm>
            <a:off x="3359687" y="3034821"/>
            <a:ext cx="455147" cy="207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3" name="Rectángulo 82">
            <a:extLst>
              <a:ext uri="{FF2B5EF4-FFF2-40B4-BE49-F238E27FC236}">
                <a16:creationId xmlns:a16="http://schemas.microsoft.com/office/drawing/2014/main" id="{0DAE1467-6D6D-4882-A062-B8C50E413ACC}"/>
              </a:ext>
            </a:extLst>
          </p:cNvPr>
          <p:cNvSpPr/>
          <p:nvPr/>
        </p:nvSpPr>
        <p:spPr>
          <a:xfrm>
            <a:off x="5234765" y="2706483"/>
            <a:ext cx="816965" cy="655101"/>
          </a:xfrm>
          <a:prstGeom prst="rect">
            <a:avLst/>
          </a:prstGeom>
          <a:solidFill>
            <a:schemeClr val="bg1">
              <a:lumMod val="85000"/>
            </a:schemeClr>
          </a:solidFill>
          <a:ln>
            <a:solidFill>
              <a:schemeClr val="bg1">
                <a:lumMod val="65000"/>
              </a:schemeClr>
            </a:solidFill>
          </a:ln>
        </p:spPr>
        <p:style>
          <a:lnRef idx="1">
            <a:schemeClr val="accent6"/>
          </a:lnRef>
          <a:fillRef idx="2">
            <a:schemeClr val="accent6"/>
          </a:fillRef>
          <a:effectRef idx="1">
            <a:schemeClr val="accent6"/>
          </a:effectRef>
          <a:fontRef idx="minor">
            <a:schemeClr val="dk1"/>
          </a:fontRef>
        </p:style>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r>
              <a:rPr lang="es-MX" sz="800"/>
              <a:t>Tablas (</a:t>
            </a:r>
            <a:r>
              <a:rPr lang="es-MX" sz="800" err="1"/>
              <a:t>sh,pi,sap</a:t>
            </a:r>
            <a:r>
              <a:rPr lang="es-MX" sz="800"/>
              <a:t>)</a:t>
            </a:r>
            <a:endParaRPr lang="es-PE" sz="800"/>
          </a:p>
        </p:txBody>
      </p:sp>
      <p:sp>
        <p:nvSpPr>
          <p:cNvPr id="84" name="Rectángulo 83">
            <a:extLst>
              <a:ext uri="{FF2B5EF4-FFF2-40B4-BE49-F238E27FC236}">
                <a16:creationId xmlns:a16="http://schemas.microsoft.com/office/drawing/2014/main" id="{9905D5B6-D581-499A-8A35-50239CC84B5B}"/>
              </a:ext>
            </a:extLst>
          </p:cNvPr>
          <p:cNvSpPr/>
          <p:nvPr/>
        </p:nvSpPr>
        <p:spPr>
          <a:xfrm>
            <a:off x="7080753" y="2735325"/>
            <a:ext cx="816965" cy="655101"/>
          </a:xfrm>
          <a:prstGeom prst="rect">
            <a:avLst/>
          </a:prstGeom>
          <a:solidFill>
            <a:schemeClr val="bg1">
              <a:lumMod val="85000"/>
            </a:schemeClr>
          </a:solidFill>
          <a:ln>
            <a:solidFill>
              <a:schemeClr val="bg1">
                <a:lumMod val="65000"/>
              </a:schemeClr>
            </a:solidFill>
          </a:ln>
        </p:spPr>
        <p:style>
          <a:lnRef idx="1">
            <a:schemeClr val="accent6"/>
          </a:lnRef>
          <a:fillRef idx="2">
            <a:schemeClr val="accent6"/>
          </a:fillRef>
          <a:effectRef idx="1">
            <a:schemeClr val="accent6"/>
          </a:effectRef>
          <a:fontRef idx="minor">
            <a:schemeClr val="dk1"/>
          </a:fontRef>
        </p:style>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r>
              <a:rPr lang="es-MX" sz="800"/>
              <a:t>Tablas (</a:t>
            </a:r>
            <a:r>
              <a:rPr lang="es-MX" sz="800" err="1"/>
              <a:t>sh,pi,sap</a:t>
            </a:r>
            <a:r>
              <a:rPr lang="es-MX" sz="800"/>
              <a:t>)</a:t>
            </a:r>
            <a:endParaRPr lang="es-PE" sz="800"/>
          </a:p>
        </p:txBody>
      </p:sp>
      <p:sp>
        <p:nvSpPr>
          <p:cNvPr id="86" name="Rectángulo 85">
            <a:extLst>
              <a:ext uri="{FF2B5EF4-FFF2-40B4-BE49-F238E27FC236}">
                <a16:creationId xmlns:a16="http://schemas.microsoft.com/office/drawing/2014/main" id="{1C08C367-890D-48CC-902D-7D5CD3E534F4}"/>
              </a:ext>
            </a:extLst>
          </p:cNvPr>
          <p:cNvSpPr/>
          <p:nvPr/>
        </p:nvSpPr>
        <p:spPr>
          <a:xfrm>
            <a:off x="5242138" y="3719714"/>
            <a:ext cx="871052" cy="768752"/>
          </a:xfrm>
          <a:prstGeom prst="rect">
            <a:avLst/>
          </a:prstGeom>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r>
              <a:rPr lang="es-MX" sz="1000">
                <a:solidFill>
                  <a:srgbClr val="FFFFFF"/>
                </a:solidFill>
              </a:rPr>
              <a:t>Aplica reglas 1,2,3,4,5,6,7</a:t>
            </a:r>
            <a:endParaRPr lang="es-PE" sz="1000">
              <a:solidFill>
                <a:srgbClr val="FFFFFF"/>
              </a:solidFill>
            </a:endParaRPr>
          </a:p>
        </p:txBody>
      </p:sp>
      <p:pic>
        <p:nvPicPr>
          <p:cNvPr id="87" name="Imagen 86">
            <a:extLst>
              <a:ext uri="{FF2B5EF4-FFF2-40B4-BE49-F238E27FC236}">
                <a16:creationId xmlns:a16="http://schemas.microsoft.com/office/drawing/2014/main" id="{DFEC868C-A2A7-4AD3-B65B-D3E5E9CB18D2}"/>
              </a:ext>
            </a:extLst>
          </p:cNvPr>
          <p:cNvPicPr>
            <a:picLocks noChangeAspect="1"/>
          </p:cNvPicPr>
          <p:nvPr/>
        </p:nvPicPr>
        <p:blipFill>
          <a:blip r:embed="rId3"/>
          <a:stretch>
            <a:fillRect/>
          </a:stretch>
        </p:blipFill>
        <p:spPr>
          <a:xfrm>
            <a:off x="5015239" y="3522955"/>
            <a:ext cx="333277" cy="349534"/>
          </a:xfrm>
          <a:prstGeom prst="rect">
            <a:avLst/>
          </a:prstGeom>
        </p:spPr>
      </p:pic>
      <p:cxnSp>
        <p:nvCxnSpPr>
          <p:cNvPr id="88" name="Conector recto de flecha 87">
            <a:extLst>
              <a:ext uri="{FF2B5EF4-FFF2-40B4-BE49-F238E27FC236}">
                <a16:creationId xmlns:a16="http://schemas.microsoft.com/office/drawing/2014/main" id="{38BF456E-9F75-4D60-B21F-47B55B481504}"/>
              </a:ext>
            </a:extLst>
          </p:cNvPr>
          <p:cNvCxnSpPr>
            <a:cxnSpLocks/>
          </p:cNvCxnSpPr>
          <p:nvPr/>
        </p:nvCxnSpPr>
        <p:spPr>
          <a:xfrm flipH="1">
            <a:off x="5641720" y="3361584"/>
            <a:ext cx="1527" cy="35813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9" name="Conector angular 21">
            <a:extLst>
              <a:ext uri="{FF2B5EF4-FFF2-40B4-BE49-F238E27FC236}">
                <a16:creationId xmlns:a16="http://schemas.microsoft.com/office/drawing/2014/main" id="{927B067F-EAF9-4526-8050-B75D3CD9759C}"/>
              </a:ext>
            </a:extLst>
          </p:cNvPr>
          <p:cNvCxnSpPr>
            <a:cxnSpLocks/>
          </p:cNvCxnSpPr>
          <p:nvPr/>
        </p:nvCxnSpPr>
        <p:spPr>
          <a:xfrm rot="5400000" flipH="1" flipV="1">
            <a:off x="5648441" y="3013023"/>
            <a:ext cx="1439968" cy="1453409"/>
          </a:xfrm>
          <a:prstGeom prst="bentConnector4">
            <a:avLst>
              <a:gd name="adj1" fmla="val -15875"/>
              <a:gd name="adj2" fmla="val 63746"/>
            </a:avLst>
          </a:prstGeom>
          <a:ln w="57150">
            <a:tailEnd type="triangle"/>
          </a:ln>
        </p:spPr>
        <p:style>
          <a:lnRef idx="1">
            <a:schemeClr val="accent4"/>
          </a:lnRef>
          <a:fillRef idx="0">
            <a:schemeClr val="accent4"/>
          </a:fillRef>
          <a:effectRef idx="0">
            <a:schemeClr val="accent4"/>
          </a:effectRef>
          <a:fontRef idx="minor">
            <a:schemeClr val="tx1"/>
          </a:fontRef>
        </p:style>
      </p:cxnSp>
      <p:sp>
        <p:nvSpPr>
          <p:cNvPr id="90" name="Rectángulo 89">
            <a:extLst>
              <a:ext uri="{FF2B5EF4-FFF2-40B4-BE49-F238E27FC236}">
                <a16:creationId xmlns:a16="http://schemas.microsoft.com/office/drawing/2014/main" id="{A5589344-7F42-436D-967F-CB36A626300D}"/>
              </a:ext>
            </a:extLst>
          </p:cNvPr>
          <p:cNvSpPr/>
          <p:nvPr/>
        </p:nvSpPr>
        <p:spPr>
          <a:xfrm>
            <a:off x="8968683" y="2895951"/>
            <a:ext cx="816965" cy="655101"/>
          </a:xfrm>
          <a:prstGeom prst="rect">
            <a:avLst/>
          </a:prstGeom>
          <a:solidFill>
            <a:srgbClr val="FFC000"/>
          </a:solidFill>
          <a:ln>
            <a:solidFill>
              <a:srgbClr val="FFC556"/>
            </a:solidFill>
          </a:ln>
        </p:spPr>
        <p:style>
          <a:lnRef idx="1">
            <a:schemeClr val="accent6"/>
          </a:lnRef>
          <a:fillRef idx="2">
            <a:schemeClr val="accent6"/>
          </a:fillRef>
          <a:effectRef idx="1">
            <a:schemeClr val="accent6"/>
          </a:effectRef>
          <a:fontRef idx="minor">
            <a:schemeClr val="dk1"/>
          </a:fontRef>
        </p:style>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r>
              <a:rPr lang="es-MX" sz="800"/>
              <a:t>Tablas (</a:t>
            </a:r>
            <a:r>
              <a:rPr lang="es-MX" sz="800" err="1"/>
              <a:t>sh,pi,sap</a:t>
            </a:r>
            <a:r>
              <a:rPr lang="es-MX" sz="800"/>
              <a:t>)</a:t>
            </a:r>
            <a:endParaRPr lang="es-PE" sz="800"/>
          </a:p>
        </p:txBody>
      </p:sp>
      <p:sp>
        <p:nvSpPr>
          <p:cNvPr id="91" name="Rectángulo 90">
            <a:extLst>
              <a:ext uri="{FF2B5EF4-FFF2-40B4-BE49-F238E27FC236}">
                <a16:creationId xmlns:a16="http://schemas.microsoft.com/office/drawing/2014/main" id="{D5828E59-EE77-4EE1-A3AA-55AF27F391DB}"/>
              </a:ext>
            </a:extLst>
          </p:cNvPr>
          <p:cNvSpPr/>
          <p:nvPr/>
        </p:nvSpPr>
        <p:spPr>
          <a:xfrm>
            <a:off x="10818866" y="2895951"/>
            <a:ext cx="816965" cy="655101"/>
          </a:xfrm>
          <a:prstGeom prst="rect">
            <a:avLst/>
          </a:prstGeom>
          <a:solidFill>
            <a:srgbClr val="FFC000"/>
          </a:solidFill>
          <a:ln>
            <a:solidFill>
              <a:srgbClr val="FFFF00"/>
            </a:solidFill>
          </a:ln>
        </p:spPr>
        <p:style>
          <a:lnRef idx="1">
            <a:schemeClr val="accent6"/>
          </a:lnRef>
          <a:fillRef idx="2">
            <a:schemeClr val="accent6"/>
          </a:fillRef>
          <a:effectRef idx="1">
            <a:schemeClr val="accent6"/>
          </a:effectRef>
          <a:fontRef idx="minor">
            <a:schemeClr val="dk1"/>
          </a:fontRef>
        </p:style>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r>
              <a:rPr lang="es-MX" sz="800"/>
              <a:t>Tablas (</a:t>
            </a:r>
            <a:r>
              <a:rPr lang="es-MX" sz="800" err="1"/>
              <a:t>sh,pi,sap</a:t>
            </a:r>
            <a:r>
              <a:rPr lang="es-MX" sz="800"/>
              <a:t>)</a:t>
            </a:r>
            <a:endParaRPr lang="es-PE" sz="800"/>
          </a:p>
        </p:txBody>
      </p:sp>
      <p:sp>
        <p:nvSpPr>
          <p:cNvPr id="103" name="Rectángulo 102">
            <a:extLst>
              <a:ext uri="{FF2B5EF4-FFF2-40B4-BE49-F238E27FC236}">
                <a16:creationId xmlns:a16="http://schemas.microsoft.com/office/drawing/2014/main" id="{87BE2DFF-0991-410D-9D7F-410BE981F03F}"/>
              </a:ext>
            </a:extLst>
          </p:cNvPr>
          <p:cNvSpPr/>
          <p:nvPr/>
        </p:nvSpPr>
        <p:spPr>
          <a:xfrm>
            <a:off x="5904165" y="5359334"/>
            <a:ext cx="1047191" cy="474292"/>
          </a:xfrm>
          <a:prstGeom prst="rect">
            <a:avLst/>
          </a:prstGeom>
          <a:solidFill>
            <a:schemeClr val="bg1">
              <a:lumMod val="85000"/>
            </a:schemeClr>
          </a:solidFill>
          <a:ln>
            <a:solidFill>
              <a:schemeClr val="bg1">
                <a:lumMod val="65000"/>
              </a:schemeClr>
            </a:solidFill>
          </a:ln>
        </p:spPr>
        <p:style>
          <a:lnRef idx="1">
            <a:schemeClr val="accent6"/>
          </a:lnRef>
          <a:fillRef idx="2">
            <a:schemeClr val="accent6"/>
          </a:fillRef>
          <a:effectRef idx="1">
            <a:schemeClr val="accent6"/>
          </a:effectRef>
          <a:fontRef idx="minor">
            <a:schemeClr val="dk1"/>
          </a:fontRef>
        </p:style>
        <p:txBody>
          <a:bodyPr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r>
              <a:rPr lang="es-ES" sz="800"/>
              <a:t>Proceso de Remediación</a:t>
            </a:r>
          </a:p>
        </p:txBody>
      </p:sp>
      <p:cxnSp>
        <p:nvCxnSpPr>
          <p:cNvPr id="104" name="Conector angular 109">
            <a:extLst>
              <a:ext uri="{FF2B5EF4-FFF2-40B4-BE49-F238E27FC236}">
                <a16:creationId xmlns:a16="http://schemas.microsoft.com/office/drawing/2014/main" id="{D6C840B0-046E-4C0B-B3E2-13CB4B1C71EB}"/>
              </a:ext>
            </a:extLst>
          </p:cNvPr>
          <p:cNvCxnSpPr>
            <a:cxnSpLocks/>
          </p:cNvCxnSpPr>
          <p:nvPr/>
        </p:nvCxnSpPr>
        <p:spPr>
          <a:xfrm rot="5400000">
            <a:off x="5177448" y="4513114"/>
            <a:ext cx="488921" cy="38211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5" name="Conector angular 111">
            <a:extLst>
              <a:ext uri="{FF2B5EF4-FFF2-40B4-BE49-F238E27FC236}">
                <a16:creationId xmlns:a16="http://schemas.microsoft.com/office/drawing/2014/main" id="{28CD71F7-58E5-41E6-A786-5A7C627CAEE6}"/>
              </a:ext>
            </a:extLst>
          </p:cNvPr>
          <p:cNvCxnSpPr>
            <a:cxnSpLocks/>
          </p:cNvCxnSpPr>
          <p:nvPr/>
        </p:nvCxnSpPr>
        <p:spPr>
          <a:xfrm rot="16200000" flipH="1">
            <a:off x="5523484" y="5143910"/>
            <a:ext cx="332465" cy="41452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pic>
        <p:nvPicPr>
          <p:cNvPr id="110" name="Imagen 109">
            <a:extLst>
              <a:ext uri="{FF2B5EF4-FFF2-40B4-BE49-F238E27FC236}">
                <a16:creationId xmlns:a16="http://schemas.microsoft.com/office/drawing/2014/main" id="{16E602B5-6C93-43CB-AD72-C193E2B369C2}"/>
              </a:ext>
            </a:extLst>
          </p:cNvPr>
          <p:cNvPicPr>
            <a:picLocks noChangeAspect="1"/>
          </p:cNvPicPr>
          <p:nvPr/>
        </p:nvPicPr>
        <p:blipFill>
          <a:blip r:embed="rId3"/>
          <a:stretch>
            <a:fillRect/>
          </a:stretch>
        </p:blipFill>
        <p:spPr>
          <a:xfrm>
            <a:off x="13484" y="6516912"/>
            <a:ext cx="309409" cy="324502"/>
          </a:xfrm>
          <a:prstGeom prst="rect">
            <a:avLst/>
          </a:prstGeom>
        </p:spPr>
      </p:pic>
      <p:sp>
        <p:nvSpPr>
          <p:cNvPr id="111" name="Rectángulo: esquinas redondeadas 112">
            <a:extLst>
              <a:ext uri="{FF2B5EF4-FFF2-40B4-BE49-F238E27FC236}">
                <a16:creationId xmlns:a16="http://schemas.microsoft.com/office/drawing/2014/main" id="{2E3B5883-92F4-4CA3-9A24-12E2D77D2684}"/>
              </a:ext>
            </a:extLst>
          </p:cNvPr>
          <p:cNvSpPr/>
          <p:nvPr/>
        </p:nvSpPr>
        <p:spPr>
          <a:xfrm>
            <a:off x="35346" y="3794128"/>
            <a:ext cx="2308372" cy="791152"/>
          </a:xfrm>
          <a:prstGeom prst="roundRect">
            <a:avLst>
              <a:gd name="adj" fmla="val 5803"/>
            </a:avLst>
          </a:prstGeom>
          <a:ln/>
        </p:spPr>
        <p:style>
          <a:lnRef idx="2">
            <a:schemeClr val="accent1"/>
          </a:lnRef>
          <a:fillRef idx="1">
            <a:schemeClr val="lt1"/>
          </a:fillRef>
          <a:effectRef idx="0">
            <a:schemeClr val="accent1"/>
          </a:effectRef>
          <a:fontRef idx="minor">
            <a:schemeClr val="dk1"/>
          </a:fontRef>
        </p:style>
        <p:txBody>
          <a:bodyPr lIns="60960" tIns="30480" rIns="60960" bIns="30480"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r>
              <a:rPr lang="es-MX" sz="933" b="1"/>
              <a:t>CROSS</a:t>
            </a:r>
          </a:p>
          <a:p>
            <a:r>
              <a:rPr lang="es-MX" sz="900"/>
              <a:t>Gobernada x </a:t>
            </a:r>
            <a:r>
              <a:rPr lang="es-MX" sz="900" err="1"/>
              <a:t>Arq</a:t>
            </a:r>
            <a:r>
              <a:rPr lang="es-MX" sz="900"/>
              <a:t> Dato</a:t>
            </a:r>
          </a:p>
          <a:p>
            <a:r>
              <a:rPr lang="es-MX" sz="933"/>
              <a:t>Revisión: Analista de Calidad y Seguridad</a:t>
            </a:r>
          </a:p>
          <a:p>
            <a:r>
              <a:rPr lang="es-MX" sz="933"/>
              <a:t>Dato</a:t>
            </a:r>
          </a:p>
        </p:txBody>
      </p:sp>
      <p:sp>
        <p:nvSpPr>
          <p:cNvPr id="113" name="CuadroTexto 112">
            <a:extLst>
              <a:ext uri="{FF2B5EF4-FFF2-40B4-BE49-F238E27FC236}">
                <a16:creationId xmlns:a16="http://schemas.microsoft.com/office/drawing/2014/main" id="{58CEBBA5-6AC7-4CB7-9EF1-641FD6C15065}"/>
              </a:ext>
            </a:extLst>
          </p:cNvPr>
          <p:cNvSpPr txBox="1"/>
          <p:nvPr/>
        </p:nvSpPr>
        <p:spPr>
          <a:xfrm>
            <a:off x="4530323" y="5272990"/>
            <a:ext cx="1195071" cy="215444"/>
          </a:xfrm>
          <a:prstGeom prst="rect">
            <a:avLst/>
          </a:prstGeom>
          <a:noFill/>
        </p:spPr>
        <p:txBody>
          <a:bodyPr wrap="square" rtlCol="0">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r>
              <a:rPr lang="es-MX" sz="800" b="1"/>
              <a:t>Estado:  ACTIVO</a:t>
            </a:r>
            <a:endParaRPr lang="es-PE" sz="800" b="1"/>
          </a:p>
        </p:txBody>
      </p:sp>
      <p:pic>
        <p:nvPicPr>
          <p:cNvPr id="114" name="Imagen 113" descr="Imagen que contiene Logotipo&#10;&#10;Descripción generada automáticamente">
            <a:extLst>
              <a:ext uri="{FF2B5EF4-FFF2-40B4-BE49-F238E27FC236}">
                <a16:creationId xmlns:a16="http://schemas.microsoft.com/office/drawing/2014/main" id="{19822BF5-F3C5-4511-A1DD-0864B04BD00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2"/>
            <a:ext cx="7110930" cy="690779"/>
          </a:xfrm>
          <a:prstGeom prst="rect">
            <a:avLst/>
          </a:prstGeom>
        </p:spPr>
      </p:pic>
      <p:cxnSp>
        <p:nvCxnSpPr>
          <p:cNvPr id="6" name="Conector recto de flecha 5">
            <a:extLst>
              <a:ext uri="{FF2B5EF4-FFF2-40B4-BE49-F238E27FC236}">
                <a16:creationId xmlns:a16="http://schemas.microsoft.com/office/drawing/2014/main" id="{1DB372E0-E525-5473-9CEA-CFD8A6A415EB}"/>
              </a:ext>
            </a:extLst>
          </p:cNvPr>
          <p:cNvCxnSpPr/>
          <p:nvPr/>
        </p:nvCxnSpPr>
        <p:spPr>
          <a:xfrm flipV="1">
            <a:off x="4548381" y="2999320"/>
            <a:ext cx="694477" cy="1016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 name="Conector recto de flecha 1">
            <a:extLst>
              <a:ext uri="{FF2B5EF4-FFF2-40B4-BE49-F238E27FC236}">
                <a16:creationId xmlns:a16="http://schemas.microsoft.com/office/drawing/2014/main" id="{C5470440-C745-8F72-7CF4-47FA2B604FC3}"/>
              </a:ext>
            </a:extLst>
          </p:cNvPr>
          <p:cNvCxnSpPr/>
          <p:nvPr/>
        </p:nvCxnSpPr>
        <p:spPr>
          <a:xfrm>
            <a:off x="9788645" y="3286483"/>
            <a:ext cx="1014502" cy="2188"/>
          </a:xfrm>
          <a:prstGeom prst="straightConnector1">
            <a:avLst/>
          </a:prstGeom>
          <a:ln w="57150">
            <a:tailEnd type="triangle"/>
          </a:ln>
        </p:spPr>
        <p:style>
          <a:lnRef idx="1">
            <a:schemeClr val="accent4"/>
          </a:lnRef>
          <a:fillRef idx="0">
            <a:schemeClr val="accent4"/>
          </a:fillRef>
          <a:effectRef idx="0">
            <a:schemeClr val="accent4"/>
          </a:effectRef>
          <a:fontRef idx="minor">
            <a:schemeClr val="tx1"/>
          </a:fontRef>
        </p:style>
      </p:cxnSp>
      <p:sp>
        <p:nvSpPr>
          <p:cNvPr id="10" name="Rectángulo: esquinas redondeadas 9">
            <a:extLst>
              <a:ext uri="{FF2B5EF4-FFF2-40B4-BE49-F238E27FC236}">
                <a16:creationId xmlns:a16="http://schemas.microsoft.com/office/drawing/2014/main" id="{6DD590C5-87AE-D7A7-D64B-6F18B7A66018}"/>
              </a:ext>
            </a:extLst>
          </p:cNvPr>
          <p:cNvSpPr/>
          <p:nvPr/>
        </p:nvSpPr>
        <p:spPr>
          <a:xfrm>
            <a:off x="140249" y="1777502"/>
            <a:ext cx="1028139" cy="588948"/>
          </a:xfrm>
          <a:prstGeom prst="roundRect">
            <a:avLst/>
          </a:prstGeom>
          <a:solidFill>
            <a:schemeClr val="bg1"/>
          </a:solidFill>
          <a:ln w="38100">
            <a:solidFill>
              <a:srgbClr val="FFC556"/>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r>
              <a:rPr lang="es-PE" b="1"/>
              <a:t>METADATADRIVEN</a:t>
            </a:r>
          </a:p>
        </p:txBody>
      </p:sp>
      <p:sp>
        <p:nvSpPr>
          <p:cNvPr id="11" name="Rectángulo 10">
            <a:extLst>
              <a:ext uri="{FF2B5EF4-FFF2-40B4-BE49-F238E27FC236}">
                <a16:creationId xmlns:a16="http://schemas.microsoft.com/office/drawing/2014/main" id="{16D4BDA5-7E13-753D-81BA-FA6ED4D09C4E}"/>
              </a:ext>
            </a:extLst>
          </p:cNvPr>
          <p:cNvSpPr/>
          <p:nvPr/>
        </p:nvSpPr>
        <p:spPr>
          <a:xfrm>
            <a:off x="210062" y="3532807"/>
            <a:ext cx="238450" cy="179282"/>
          </a:xfrm>
          <a:prstGeom prst="rect">
            <a:avLst/>
          </a:prstGeom>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endParaRPr lang="es-MX" sz="800">
              <a:solidFill>
                <a:srgbClr val="FFFFFF"/>
              </a:solidFill>
            </a:endParaRPr>
          </a:p>
        </p:txBody>
      </p:sp>
      <p:cxnSp>
        <p:nvCxnSpPr>
          <p:cNvPr id="13" name="Conector recto de flecha 12">
            <a:extLst>
              <a:ext uri="{FF2B5EF4-FFF2-40B4-BE49-F238E27FC236}">
                <a16:creationId xmlns:a16="http://schemas.microsoft.com/office/drawing/2014/main" id="{931B5B8F-FC4C-7E31-FB30-2E47DDFF13ED}"/>
              </a:ext>
            </a:extLst>
          </p:cNvPr>
          <p:cNvCxnSpPr>
            <a:cxnSpLocks/>
          </p:cNvCxnSpPr>
          <p:nvPr/>
        </p:nvCxnSpPr>
        <p:spPr>
          <a:xfrm>
            <a:off x="7890833" y="3228973"/>
            <a:ext cx="1014502" cy="2188"/>
          </a:xfrm>
          <a:prstGeom prst="straightConnector1">
            <a:avLst/>
          </a:prstGeom>
          <a:ln w="57150">
            <a:tailEnd type="triangle"/>
          </a:ln>
        </p:spPr>
        <p:style>
          <a:lnRef idx="1">
            <a:schemeClr val="accent4"/>
          </a:lnRef>
          <a:fillRef idx="0">
            <a:schemeClr val="accent4"/>
          </a:fillRef>
          <a:effectRef idx="0">
            <a:schemeClr val="accent4"/>
          </a:effectRef>
          <a:fontRef idx="minor">
            <a:schemeClr val="tx1"/>
          </a:fontRef>
        </p:style>
      </p:cxnSp>
      <p:pic>
        <p:nvPicPr>
          <p:cNvPr id="72" name="Imagen 71">
            <a:extLst>
              <a:ext uri="{FF2B5EF4-FFF2-40B4-BE49-F238E27FC236}">
                <a16:creationId xmlns:a16="http://schemas.microsoft.com/office/drawing/2014/main" id="{C39F9A1B-2285-4363-9BD6-F76AB55A8634}"/>
              </a:ext>
            </a:extLst>
          </p:cNvPr>
          <p:cNvPicPr>
            <a:picLocks noChangeAspect="1"/>
          </p:cNvPicPr>
          <p:nvPr/>
        </p:nvPicPr>
        <p:blipFill>
          <a:blip r:embed="rId5"/>
          <a:stretch>
            <a:fillRect/>
          </a:stretch>
        </p:blipFill>
        <p:spPr>
          <a:xfrm>
            <a:off x="327379" y="684632"/>
            <a:ext cx="456593" cy="478865"/>
          </a:xfrm>
          <a:prstGeom prst="rect">
            <a:avLst/>
          </a:prstGeom>
        </p:spPr>
      </p:pic>
      <p:cxnSp>
        <p:nvCxnSpPr>
          <p:cNvPr id="4" name="Conector recto de flecha 3">
            <a:extLst>
              <a:ext uri="{FF2B5EF4-FFF2-40B4-BE49-F238E27FC236}">
                <a16:creationId xmlns:a16="http://schemas.microsoft.com/office/drawing/2014/main" id="{7AB88655-3AF6-A432-1714-E257266A05B8}"/>
              </a:ext>
            </a:extLst>
          </p:cNvPr>
          <p:cNvCxnSpPr/>
          <p:nvPr/>
        </p:nvCxnSpPr>
        <p:spPr>
          <a:xfrm>
            <a:off x="7549026" y="3408575"/>
            <a:ext cx="12779" cy="674594"/>
          </a:xfrm>
          <a:prstGeom prst="straightConnector1">
            <a:avLst/>
          </a:prstGeom>
          <a:ln w="57150"/>
        </p:spPr>
        <p:style>
          <a:lnRef idx="1">
            <a:schemeClr val="accent4"/>
          </a:lnRef>
          <a:fillRef idx="0">
            <a:schemeClr val="accent4"/>
          </a:fillRef>
          <a:effectRef idx="0">
            <a:schemeClr val="accent4"/>
          </a:effectRef>
          <a:fontRef idx="minor">
            <a:schemeClr val="tx1"/>
          </a:fontRef>
        </p:style>
      </p:cxnSp>
      <p:cxnSp>
        <p:nvCxnSpPr>
          <p:cNvPr id="7" name="Conector recto de flecha 6">
            <a:extLst>
              <a:ext uri="{FF2B5EF4-FFF2-40B4-BE49-F238E27FC236}">
                <a16:creationId xmlns:a16="http://schemas.microsoft.com/office/drawing/2014/main" id="{A8CB64AD-5D29-889B-919B-EC0927FFAB87}"/>
              </a:ext>
            </a:extLst>
          </p:cNvPr>
          <p:cNvCxnSpPr/>
          <p:nvPr/>
        </p:nvCxnSpPr>
        <p:spPr>
          <a:xfrm>
            <a:off x="7559524" y="4070846"/>
            <a:ext cx="3676952" cy="36285"/>
          </a:xfrm>
          <a:prstGeom prst="straightConnector1">
            <a:avLst/>
          </a:prstGeom>
          <a:ln w="57150"/>
        </p:spPr>
        <p:style>
          <a:lnRef idx="1">
            <a:schemeClr val="accent4"/>
          </a:lnRef>
          <a:fillRef idx="0">
            <a:schemeClr val="accent4"/>
          </a:fillRef>
          <a:effectRef idx="0">
            <a:schemeClr val="accent4"/>
          </a:effectRef>
          <a:fontRef idx="minor">
            <a:schemeClr val="tx1"/>
          </a:fontRef>
        </p:style>
      </p:cxnSp>
      <p:cxnSp>
        <p:nvCxnSpPr>
          <p:cNvPr id="12" name="Conector recto de flecha 11">
            <a:extLst>
              <a:ext uri="{FF2B5EF4-FFF2-40B4-BE49-F238E27FC236}">
                <a16:creationId xmlns:a16="http://schemas.microsoft.com/office/drawing/2014/main" id="{B835ECC5-FF55-3F08-EFFF-9E324F604BCE}"/>
              </a:ext>
            </a:extLst>
          </p:cNvPr>
          <p:cNvCxnSpPr/>
          <p:nvPr/>
        </p:nvCxnSpPr>
        <p:spPr>
          <a:xfrm flipV="1">
            <a:off x="11227913" y="3536583"/>
            <a:ext cx="16566" cy="584678"/>
          </a:xfrm>
          <a:prstGeom prst="straightConnector1">
            <a:avLst/>
          </a:prstGeom>
          <a:ln w="57150">
            <a:tailEnd type="triangle"/>
          </a:ln>
        </p:spPr>
        <p:style>
          <a:lnRef idx="1">
            <a:schemeClr val="accent4"/>
          </a:lnRef>
          <a:fillRef idx="0">
            <a:schemeClr val="accent4"/>
          </a:fillRef>
          <a:effectRef idx="0">
            <a:schemeClr val="accent4"/>
          </a:effectRef>
          <a:fontRef idx="minor">
            <a:schemeClr val="tx1"/>
          </a:fontRef>
        </p:style>
      </p:cxnSp>
      <p:sp>
        <p:nvSpPr>
          <p:cNvPr id="15" name="Rectángulo: esquinas redondeadas 14">
            <a:extLst>
              <a:ext uri="{FF2B5EF4-FFF2-40B4-BE49-F238E27FC236}">
                <a16:creationId xmlns:a16="http://schemas.microsoft.com/office/drawing/2014/main" id="{6E81996D-A422-A2C2-23D6-387AC11AC51A}"/>
              </a:ext>
            </a:extLst>
          </p:cNvPr>
          <p:cNvSpPr/>
          <p:nvPr/>
        </p:nvSpPr>
        <p:spPr>
          <a:xfrm>
            <a:off x="3672428" y="5776163"/>
            <a:ext cx="8397346" cy="329713"/>
          </a:xfrm>
          <a:prstGeom prst="roundRect">
            <a:avLst/>
          </a:prstGeom>
          <a:ln>
            <a:prstDash val="dash"/>
          </a:ln>
        </p:spPr>
        <p:style>
          <a:lnRef idx="2">
            <a:schemeClr val="accent2"/>
          </a:lnRef>
          <a:fillRef idx="1">
            <a:schemeClr val="lt1"/>
          </a:fillRef>
          <a:effectRef idx="0">
            <a:schemeClr val="accent2"/>
          </a:effectRef>
          <a:fontRef idx="minor">
            <a:schemeClr val="dk1"/>
          </a:fontRef>
        </p:style>
        <p:txBody>
          <a:bodyPr rtlCol="0" anchor="ctr"/>
          <a:lstStyle/>
          <a:p>
            <a:pPr algn="ctr"/>
            <a:r>
              <a:rPr lang="es-PE" b="1"/>
              <a:t>Auditoria</a:t>
            </a:r>
          </a:p>
        </p:txBody>
      </p:sp>
      <p:sp>
        <p:nvSpPr>
          <p:cNvPr id="17" name="Rectángulo: esquinas redondeadas 16">
            <a:extLst>
              <a:ext uri="{FF2B5EF4-FFF2-40B4-BE49-F238E27FC236}">
                <a16:creationId xmlns:a16="http://schemas.microsoft.com/office/drawing/2014/main" id="{8254F81F-85FB-64F1-45D3-9993337550DF}"/>
              </a:ext>
            </a:extLst>
          </p:cNvPr>
          <p:cNvSpPr/>
          <p:nvPr/>
        </p:nvSpPr>
        <p:spPr>
          <a:xfrm>
            <a:off x="3679057" y="6166621"/>
            <a:ext cx="8390717" cy="260408"/>
          </a:xfrm>
          <a:prstGeom prst="roundRect">
            <a:avLst>
              <a:gd name="adj" fmla="val 0"/>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PE" sz="1000">
                <a:solidFill>
                  <a:srgbClr val="575757"/>
                </a:solidFill>
              </a:rPr>
              <a:t>Monitoreo de Calidad y Accesos de Seguridad</a:t>
            </a:r>
          </a:p>
        </p:txBody>
      </p:sp>
      <p:sp>
        <p:nvSpPr>
          <p:cNvPr id="102" name="Rectángulo 101">
            <a:extLst>
              <a:ext uri="{FF2B5EF4-FFF2-40B4-BE49-F238E27FC236}">
                <a16:creationId xmlns:a16="http://schemas.microsoft.com/office/drawing/2014/main" id="{B592AF4E-BC82-4FDF-B877-0D53AE1BA954}"/>
              </a:ext>
            </a:extLst>
          </p:cNvPr>
          <p:cNvSpPr/>
          <p:nvPr/>
        </p:nvSpPr>
        <p:spPr>
          <a:xfrm>
            <a:off x="4707024" y="4948633"/>
            <a:ext cx="1182220" cy="334936"/>
          </a:xfrm>
          <a:prstGeom prst="rec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r>
              <a:rPr lang="es-MX" sz="800">
                <a:solidFill>
                  <a:srgbClr val="FF0000"/>
                </a:solidFill>
              </a:rPr>
              <a:t>REGISTROS CON ERROR </a:t>
            </a:r>
          </a:p>
        </p:txBody>
      </p:sp>
      <p:sp>
        <p:nvSpPr>
          <p:cNvPr id="3" name="CuadroTexto 2">
            <a:extLst>
              <a:ext uri="{FF2B5EF4-FFF2-40B4-BE49-F238E27FC236}">
                <a16:creationId xmlns:a16="http://schemas.microsoft.com/office/drawing/2014/main" id="{C6FE988F-77B1-3C9D-DA41-3B3B37DC27D3}"/>
              </a:ext>
            </a:extLst>
          </p:cNvPr>
          <p:cNvSpPr txBox="1"/>
          <p:nvPr/>
        </p:nvSpPr>
        <p:spPr>
          <a:xfrm>
            <a:off x="6368425" y="6575995"/>
            <a:ext cx="6344919" cy="261610"/>
          </a:xfrm>
          <a:prstGeom prst="rect">
            <a:avLst/>
          </a:prstGeom>
          <a:noFill/>
        </p:spPr>
        <p:txBody>
          <a:bodyPr wrap="square" rtlCol="0">
            <a:spAutoFit/>
          </a:bodyPr>
          <a:lstStyle/>
          <a:p>
            <a:r>
              <a:rPr lang="es-ES" sz="1100" b="1" dirty="0"/>
              <a:t>Doc. De Referencia: DG-PRO-PCCD-MINS-001-Procedimiento Corporativo de Calidad de Datos v1.0</a:t>
            </a:r>
            <a:endParaRPr lang="es-PE" sz="1100" b="1" dirty="0"/>
          </a:p>
        </p:txBody>
      </p:sp>
    </p:spTree>
    <p:extLst>
      <p:ext uri="{BB962C8B-B14F-4D97-AF65-F5344CB8AC3E}">
        <p14:creationId xmlns:p14="http://schemas.microsoft.com/office/powerpoint/2010/main" val="15137314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4350A5-0ED2-2082-8F19-D3E5658F6828}"/>
            </a:ext>
          </a:extLst>
        </p:cNvPr>
        <p:cNvGrpSpPr/>
        <p:nvPr/>
      </p:nvGrpSpPr>
      <p:grpSpPr>
        <a:xfrm>
          <a:off x="0" y="0"/>
          <a:ext cx="0" cy="0"/>
          <a:chOff x="0" y="0"/>
          <a:chExt cx="0" cy="0"/>
        </a:xfrm>
      </p:grpSpPr>
      <p:sp>
        <p:nvSpPr>
          <p:cNvPr id="2" name="Rectángulo 1">
            <a:extLst>
              <a:ext uri="{FF2B5EF4-FFF2-40B4-BE49-F238E27FC236}">
                <a16:creationId xmlns:a16="http://schemas.microsoft.com/office/drawing/2014/main" id="{4698AD50-B2DC-0F10-49AD-994E279E5BAC}"/>
              </a:ext>
            </a:extLst>
          </p:cNvPr>
          <p:cNvSpPr/>
          <p:nvPr/>
        </p:nvSpPr>
        <p:spPr>
          <a:xfrm>
            <a:off x="-1" y="-1"/>
            <a:ext cx="12192001" cy="6858001"/>
          </a:xfrm>
          <a:prstGeom prst="rect">
            <a:avLst/>
          </a:prstGeom>
          <a:noFill/>
        </p:spPr>
        <p:txBody>
          <a:bodyPr wrap="none" rtlCol="0">
            <a:spAutoFit/>
          </a:bodyPr>
          <a:lstStyle/>
          <a:p>
            <a:pPr algn="ctr"/>
            <a:endParaRPr lang="es-PE" sz="4000" b="1">
              <a:solidFill>
                <a:srgbClr val="3FA7A7"/>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Imagen 3" descr="Imagen que contiene Logotipo&#10;&#10;Descripción generada automáticamente">
            <a:extLst>
              <a:ext uri="{FF2B5EF4-FFF2-40B4-BE49-F238E27FC236}">
                <a16:creationId xmlns:a16="http://schemas.microsoft.com/office/drawing/2014/main" id="{A2387EB9-A60C-9808-DB47-538C4A189B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042" y="-32085"/>
            <a:ext cx="7110930" cy="1060175"/>
          </a:xfrm>
          <a:prstGeom prst="rect">
            <a:avLst/>
          </a:prstGeom>
        </p:spPr>
      </p:pic>
      <p:pic>
        <p:nvPicPr>
          <p:cNvPr id="5" name="Imagen 4" descr="Logotipo&#10;&#10;Descripción generada automáticamente">
            <a:extLst>
              <a:ext uri="{FF2B5EF4-FFF2-40B4-BE49-F238E27FC236}">
                <a16:creationId xmlns:a16="http://schemas.microsoft.com/office/drawing/2014/main" id="{10AECD05-7BE2-367A-8B41-D73741C557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63003" y="289448"/>
            <a:ext cx="1905000" cy="698500"/>
          </a:xfrm>
          <a:prstGeom prst="rect">
            <a:avLst/>
          </a:prstGeom>
        </p:spPr>
      </p:pic>
      <p:sp>
        <p:nvSpPr>
          <p:cNvPr id="6" name="CuadroTexto 5">
            <a:extLst>
              <a:ext uri="{FF2B5EF4-FFF2-40B4-BE49-F238E27FC236}">
                <a16:creationId xmlns:a16="http://schemas.microsoft.com/office/drawing/2014/main" id="{982D5B5A-E40E-440A-A62C-E9569341B40C}"/>
              </a:ext>
            </a:extLst>
          </p:cNvPr>
          <p:cNvSpPr txBox="1"/>
          <p:nvPr/>
        </p:nvSpPr>
        <p:spPr>
          <a:xfrm>
            <a:off x="990655" y="860119"/>
            <a:ext cx="5377770" cy="461665"/>
          </a:xfrm>
          <a:prstGeom prst="rect">
            <a:avLst/>
          </a:prstGeom>
          <a:noFill/>
        </p:spPr>
        <p:txBody>
          <a:bodyPr wrap="square" rtlCol="0">
            <a:spAutoFit/>
          </a:bodyPr>
          <a:lstStyle/>
          <a:p>
            <a:r>
              <a:rPr lang="es-PE" sz="2400" b="1" dirty="0">
                <a:solidFill>
                  <a:srgbClr val="3FA7A7"/>
                </a:solidFill>
                <a:latin typeface="Trebuchet MS"/>
              </a:rPr>
              <a:t>Diccionario de Datos:</a:t>
            </a:r>
          </a:p>
        </p:txBody>
      </p:sp>
      <p:graphicFrame>
        <p:nvGraphicFramePr>
          <p:cNvPr id="3" name="Diagrama 2">
            <a:extLst>
              <a:ext uri="{FF2B5EF4-FFF2-40B4-BE49-F238E27FC236}">
                <a16:creationId xmlns:a16="http://schemas.microsoft.com/office/drawing/2014/main" id="{F97460E6-D1B3-2D1E-B3BA-718A55800F3F}"/>
              </a:ext>
            </a:extLst>
          </p:cNvPr>
          <p:cNvGraphicFramePr/>
          <p:nvPr>
            <p:extLst>
              <p:ext uri="{D42A27DB-BD31-4B8C-83A1-F6EECF244321}">
                <p14:modId xmlns:p14="http://schemas.microsoft.com/office/powerpoint/2010/main" val="2129805399"/>
              </p:ext>
            </p:extLst>
          </p:nvPr>
        </p:nvGraphicFramePr>
        <p:xfrm>
          <a:off x="548896" y="1518833"/>
          <a:ext cx="5377771" cy="504972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7" name="CuadroTexto 6">
            <a:extLst>
              <a:ext uri="{FF2B5EF4-FFF2-40B4-BE49-F238E27FC236}">
                <a16:creationId xmlns:a16="http://schemas.microsoft.com/office/drawing/2014/main" id="{3E4FE38F-4586-0691-3E29-F45BC1C73349}"/>
              </a:ext>
            </a:extLst>
          </p:cNvPr>
          <p:cNvSpPr txBox="1"/>
          <p:nvPr/>
        </p:nvSpPr>
        <p:spPr>
          <a:xfrm>
            <a:off x="6475564" y="1916621"/>
            <a:ext cx="5377770" cy="461665"/>
          </a:xfrm>
          <a:prstGeom prst="rect">
            <a:avLst/>
          </a:prstGeom>
          <a:noFill/>
        </p:spPr>
        <p:txBody>
          <a:bodyPr wrap="square" rtlCol="0">
            <a:spAutoFit/>
          </a:bodyPr>
          <a:lstStyle/>
          <a:p>
            <a:r>
              <a:rPr lang="es-PE" sz="2400" b="1" dirty="0">
                <a:solidFill>
                  <a:srgbClr val="3FA7A7"/>
                </a:solidFill>
                <a:latin typeface="Trebuchet MS"/>
              </a:rPr>
              <a:t>Reglas de Calidad por Proyecto:</a:t>
            </a:r>
          </a:p>
        </p:txBody>
      </p:sp>
      <p:graphicFrame>
        <p:nvGraphicFramePr>
          <p:cNvPr id="10" name="Diagrama 9">
            <a:extLst>
              <a:ext uri="{FF2B5EF4-FFF2-40B4-BE49-F238E27FC236}">
                <a16:creationId xmlns:a16="http://schemas.microsoft.com/office/drawing/2014/main" id="{175468DC-800C-732E-5665-966E66A02E33}"/>
              </a:ext>
            </a:extLst>
          </p:cNvPr>
          <p:cNvGraphicFramePr/>
          <p:nvPr>
            <p:extLst>
              <p:ext uri="{D42A27DB-BD31-4B8C-83A1-F6EECF244321}">
                <p14:modId xmlns:p14="http://schemas.microsoft.com/office/powerpoint/2010/main" val="316923726"/>
              </p:ext>
            </p:extLst>
          </p:nvPr>
        </p:nvGraphicFramePr>
        <p:xfrm>
          <a:off x="6370448" y="2644065"/>
          <a:ext cx="5377771" cy="3796776"/>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pic>
        <p:nvPicPr>
          <p:cNvPr id="8" name="Imagen 7" descr="Imagen que contiene Logotipo&#10;&#10;Descripción generada automáticamente">
            <a:extLst>
              <a:ext uri="{FF2B5EF4-FFF2-40B4-BE49-F238E27FC236}">
                <a16:creationId xmlns:a16="http://schemas.microsoft.com/office/drawing/2014/main" id="{494AD1C6-4DB2-3F18-4868-C75FB2EEF2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800000">
            <a:off x="5081070" y="5797825"/>
            <a:ext cx="7110930" cy="1060175"/>
          </a:xfrm>
          <a:prstGeom prst="rect">
            <a:avLst/>
          </a:prstGeom>
        </p:spPr>
      </p:pic>
      <p:sp>
        <p:nvSpPr>
          <p:cNvPr id="9" name="CuadroTexto 8">
            <a:extLst>
              <a:ext uri="{FF2B5EF4-FFF2-40B4-BE49-F238E27FC236}">
                <a16:creationId xmlns:a16="http://schemas.microsoft.com/office/drawing/2014/main" id="{D8173054-C005-1688-BB7E-B20C4E42A6A9}"/>
              </a:ext>
            </a:extLst>
          </p:cNvPr>
          <p:cNvSpPr txBox="1"/>
          <p:nvPr/>
        </p:nvSpPr>
        <p:spPr>
          <a:xfrm>
            <a:off x="6368425" y="6575995"/>
            <a:ext cx="6344919" cy="261610"/>
          </a:xfrm>
          <a:prstGeom prst="rect">
            <a:avLst/>
          </a:prstGeom>
          <a:noFill/>
        </p:spPr>
        <p:txBody>
          <a:bodyPr wrap="square" rtlCol="0">
            <a:spAutoFit/>
          </a:bodyPr>
          <a:lstStyle/>
          <a:p>
            <a:r>
              <a:rPr lang="es-ES" sz="1100" b="1" dirty="0"/>
              <a:t>Doc. De Referencia: DG-PRO-PCCD-MINS-001-Procedimiento Corporativo de Calidad de Datos v1.0</a:t>
            </a:r>
            <a:endParaRPr lang="es-PE" sz="1100" b="1" dirty="0"/>
          </a:p>
        </p:txBody>
      </p:sp>
    </p:spTree>
    <p:extLst>
      <p:ext uri="{BB962C8B-B14F-4D97-AF65-F5344CB8AC3E}">
        <p14:creationId xmlns:p14="http://schemas.microsoft.com/office/powerpoint/2010/main" val="4089459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524530-66E4-C4E9-4769-17F992CA58FD}"/>
            </a:ext>
          </a:extLst>
        </p:cNvPr>
        <p:cNvGrpSpPr/>
        <p:nvPr/>
      </p:nvGrpSpPr>
      <p:grpSpPr>
        <a:xfrm>
          <a:off x="0" y="0"/>
          <a:ext cx="0" cy="0"/>
          <a:chOff x="0" y="0"/>
          <a:chExt cx="0" cy="0"/>
        </a:xfrm>
      </p:grpSpPr>
      <p:sp>
        <p:nvSpPr>
          <p:cNvPr id="2" name="Rectángulo 1">
            <a:extLst>
              <a:ext uri="{FF2B5EF4-FFF2-40B4-BE49-F238E27FC236}">
                <a16:creationId xmlns:a16="http://schemas.microsoft.com/office/drawing/2014/main" id="{3EFAFEE9-9EE1-B252-8DC6-54B48F277E3C}"/>
              </a:ext>
            </a:extLst>
          </p:cNvPr>
          <p:cNvSpPr/>
          <p:nvPr/>
        </p:nvSpPr>
        <p:spPr>
          <a:xfrm>
            <a:off x="-1" y="-1"/>
            <a:ext cx="12192001" cy="6858001"/>
          </a:xfrm>
          <a:prstGeom prst="rect">
            <a:avLst/>
          </a:prstGeom>
          <a:noFill/>
        </p:spPr>
        <p:txBody>
          <a:bodyPr wrap="none" rtlCol="0">
            <a:spAutoFit/>
          </a:bodyPr>
          <a:lstStyle/>
          <a:p>
            <a:pPr algn="ctr"/>
            <a:endParaRPr lang="es-PE" sz="4000" b="1">
              <a:solidFill>
                <a:srgbClr val="3FA7A7"/>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Imagen 3" descr="Imagen que contiene Logotipo&#10;&#10;Descripción generada automáticamente">
            <a:extLst>
              <a:ext uri="{FF2B5EF4-FFF2-40B4-BE49-F238E27FC236}">
                <a16:creationId xmlns:a16="http://schemas.microsoft.com/office/drawing/2014/main" id="{7CE2B66F-B722-961F-A36D-5088F5CF93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042" y="-32085"/>
            <a:ext cx="7110930" cy="1060175"/>
          </a:xfrm>
          <a:prstGeom prst="rect">
            <a:avLst/>
          </a:prstGeom>
        </p:spPr>
      </p:pic>
      <p:pic>
        <p:nvPicPr>
          <p:cNvPr id="5" name="Imagen 4" descr="Logotipo&#10;&#10;Descripción generada automáticamente">
            <a:extLst>
              <a:ext uri="{FF2B5EF4-FFF2-40B4-BE49-F238E27FC236}">
                <a16:creationId xmlns:a16="http://schemas.microsoft.com/office/drawing/2014/main" id="{FE74056A-4072-AA08-CE5B-C091FFD44C9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63003" y="289448"/>
            <a:ext cx="1905000" cy="698500"/>
          </a:xfrm>
          <a:prstGeom prst="rect">
            <a:avLst/>
          </a:prstGeom>
        </p:spPr>
      </p:pic>
      <p:sp>
        <p:nvSpPr>
          <p:cNvPr id="6" name="CuadroTexto 5">
            <a:extLst>
              <a:ext uri="{FF2B5EF4-FFF2-40B4-BE49-F238E27FC236}">
                <a16:creationId xmlns:a16="http://schemas.microsoft.com/office/drawing/2014/main" id="{4EAB4AD4-1873-5291-A0A5-A962B99FBA43}"/>
              </a:ext>
            </a:extLst>
          </p:cNvPr>
          <p:cNvSpPr txBox="1"/>
          <p:nvPr/>
        </p:nvSpPr>
        <p:spPr>
          <a:xfrm>
            <a:off x="718229" y="695560"/>
            <a:ext cx="5377770" cy="584775"/>
          </a:xfrm>
          <a:prstGeom prst="rect">
            <a:avLst/>
          </a:prstGeom>
          <a:noFill/>
        </p:spPr>
        <p:txBody>
          <a:bodyPr wrap="square" rtlCol="0">
            <a:spAutoFit/>
          </a:bodyPr>
          <a:lstStyle/>
          <a:p>
            <a:r>
              <a:rPr lang="es-PE" sz="2400" b="1" dirty="0">
                <a:solidFill>
                  <a:srgbClr val="3FA7A7"/>
                </a:solidFill>
                <a:latin typeface="Trebuchet MS"/>
              </a:rPr>
              <a:t>Remediación</a:t>
            </a:r>
            <a:r>
              <a:rPr lang="es-PE" sz="3200" b="1" dirty="0"/>
              <a:t> </a:t>
            </a:r>
            <a:r>
              <a:rPr lang="es-PE" sz="2400" b="1" dirty="0">
                <a:solidFill>
                  <a:srgbClr val="3FA7A7"/>
                </a:solidFill>
                <a:latin typeface="Trebuchet MS"/>
              </a:rPr>
              <a:t>de Datos</a:t>
            </a:r>
          </a:p>
        </p:txBody>
      </p:sp>
      <p:graphicFrame>
        <p:nvGraphicFramePr>
          <p:cNvPr id="3" name="Diagrama 2">
            <a:extLst>
              <a:ext uri="{FF2B5EF4-FFF2-40B4-BE49-F238E27FC236}">
                <a16:creationId xmlns:a16="http://schemas.microsoft.com/office/drawing/2014/main" id="{A02F5E0E-0109-FE4A-A96F-0569835FA1D7}"/>
              </a:ext>
            </a:extLst>
          </p:cNvPr>
          <p:cNvGraphicFramePr/>
          <p:nvPr>
            <p:extLst>
              <p:ext uri="{D42A27DB-BD31-4B8C-83A1-F6EECF244321}">
                <p14:modId xmlns:p14="http://schemas.microsoft.com/office/powerpoint/2010/main" val="1724852190"/>
              </p:ext>
            </p:extLst>
          </p:nvPr>
        </p:nvGraphicFramePr>
        <p:xfrm>
          <a:off x="398401" y="1649325"/>
          <a:ext cx="3424091" cy="364220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8" name="Imagen 7" descr="Imagen que contiene Logotipo&#10;&#10;Descripción generada automáticamente">
            <a:extLst>
              <a:ext uri="{FF2B5EF4-FFF2-40B4-BE49-F238E27FC236}">
                <a16:creationId xmlns:a16="http://schemas.microsoft.com/office/drawing/2014/main" id="{0680D492-08B3-12BC-AFE4-C0800DEE99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800000">
            <a:off x="5081070" y="5797825"/>
            <a:ext cx="7110930" cy="1060175"/>
          </a:xfrm>
          <a:prstGeom prst="rect">
            <a:avLst/>
          </a:prstGeom>
        </p:spPr>
      </p:pic>
      <p:sp>
        <p:nvSpPr>
          <p:cNvPr id="9" name="CuadroTexto 8">
            <a:extLst>
              <a:ext uri="{FF2B5EF4-FFF2-40B4-BE49-F238E27FC236}">
                <a16:creationId xmlns:a16="http://schemas.microsoft.com/office/drawing/2014/main" id="{9F4F7EB5-D9C8-52C2-5752-530B299BE034}"/>
              </a:ext>
            </a:extLst>
          </p:cNvPr>
          <p:cNvSpPr txBox="1"/>
          <p:nvPr/>
        </p:nvSpPr>
        <p:spPr>
          <a:xfrm>
            <a:off x="5926668" y="6612432"/>
            <a:ext cx="6344919" cy="261610"/>
          </a:xfrm>
          <a:prstGeom prst="rect">
            <a:avLst/>
          </a:prstGeom>
          <a:noFill/>
        </p:spPr>
        <p:txBody>
          <a:bodyPr wrap="square" rtlCol="0">
            <a:spAutoFit/>
          </a:bodyPr>
          <a:lstStyle/>
          <a:p>
            <a:r>
              <a:rPr lang="es-ES" sz="1100" b="1" dirty="0"/>
              <a:t>Doc. De Referencia: DG-PRO-PCRD-MINS-001-Procedimiento Corporativo de Remediación de Datos v1.0</a:t>
            </a:r>
            <a:endParaRPr lang="es-PE" sz="1100" b="1" dirty="0"/>
          </a:p>
        </p:txBody>
      </p:sp>
      <p:pic>
        <p:nvPicPr>
          <p:cNvPr id="2050" name="Picture 2">
            <a:extLst>
              <a:ext uri="{FF2B5EF4-FFF2-40B4-BE49-F238E27FC236}">
                <a16:creationId xmlns:a16="http://schemas.microsoft.com/office/drawing/2014/main" id="{E4185670-EC84-DACB-181B-2E6A7388EBD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838533" y="1312419"/>
            <a:ext cx="8331344" cy="49146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05739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02E24A-4D74-D266-24D5-AC1D5B56B7AD}"/>
            </a:ext>
          </a:extLst>
        </p:cNvPr>
        <p:cNvGrpSpPr/>
        <p:nvPr/>
      </p:nvGrpSpPr>
      <p:grpSpPr>
        <a:xfrm>
          <a:off x="0" y="0"/>
          <a:ext cx="0" cy="0"/>
          <a:chOff x="0" y="0"/>
          <a:chExt cx="0" cy="0"/>
        </a:xfrm>
      </p:grpSpPr>
      <p:pic>
        <p:nvPicPr>
          <p:cNvPr id="7" name="Imagen 6" descr="Imagen que contiene Logotipo&#10;&#10;Descripción generada automáticamente">
            <a:extLst>
              <a:ext uri="{FF2B5EF4-FFF2-40B4-BE49-F238E27FC236}">
                <a16:creationId xmlns:a16="http://schemas.microsoft.com/office/drawing/2014/main" id="{62DFBEFF-179D-1085-1594-17ABBFCF605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0800000">
            <a:off x="5081070" y="5797825"/>
            <a:ext cx="7110930" cy="1060175"/>
          </a:xfrm>
          <a:prstGeom prst="rect">
            <a:avLst/>
          </a:prstGeom>
        </p:spPr>
      </p:pic>
      <p:graphicFrame>
        <p:nvGraphicFramePr>
          <p:cNvPr id="3" name="Objeto 2" hidden="1">
            <a:extLst>
              <a:ext uri="{FF2B5EF4-FFF2-40B4-BE49-F238E27FC236}">
                <a16:creationId xmlns:a16="http://schemas.microsoft.com/office/drawing/2014/main" id="{0469B356-182F-D18C-1C5C-491E0FDF4F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3" name="Objeto 2" hidden="1">
                        <a:extLst>
                          <a:ext uri="{FF2B5EF4-FFF2-40B4-BE49-F238E27FC236}">
                            <a16:creationId xmlns:a16="http://schemas.microsoft.com/office/drawing/2014/main" id="{F4ABC978-CA81-3632-35C5-A8ED8FD904C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A43DEBCC-B310-FBCE-012E-638A0A0DE379}"/>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2800" b="1" i="0" u="none" strike="noStrike" kern="1200" cap="none" spc="0" normalizeH="0" baseline="0" noProof="0">
              <a:ln>
                <a:noFill/>
              </a:ln>
              <a:solidFill>
                <a:prstClr val="black"/>
              </a:solidFill>
              <a:effectLst/>
              <a:uLnTx/>
              <a:uFillTx/>
              <a:latin typeface="Calibri" panose="020F0502020204030204" pitchFamily="34" charset="0"/>
              <a:ea typeface="+mn-ea"/>
              <a:cs typeface="+mn-cs"/>
              <a:sym typeface="Calibri" panose="020F0502020204030204" pitchFamily="34" charset="0"/>
            </a:endParaRPr>
          </a:p>
        </p:txBody>
      </p:sp>
      <p:pic>
        <p:nvPicPr>
          <p:cNvPr id="38" name="Imagen 37" descr="Imagen que contiene Logotipo&#10;&#10;Descripción generada automáticamente">
            <a:extLst>
              <a:ext uri="{FF2B5EF4-FFF2-40B4-BE49-F238E27FC236}">
                <a16:creationId xmlns:a16="http://schemas.microsoft.com/office/drawing/2014/main" id="{526CA5D5-A8F9-FFF2-05E9-57BD10B43E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2"/>
            <a:ext cx="7110930" cy="1060175"/>
          </a:xfrm>
          <a:prstGeom prst="rect">
            <a:avLst/>
          </a:prstGeom>
        </p:spPr>
      </p:pic>
      <p:pic>
        <p:nvPicPr>
          <p:cNvPr id="6" name="Imagen 5" descr="Logotipo&#10;&#10;Descripción generada automáticamente">
            <a:extLst>
              <a:ext uri="{FF2B5EF4-FFF2-40B4-BE49-F238E27FC236}">
                <a16:creationId xmlns:a16="http://schemas.microsoft.com/office/drawing/2014/main" id="{E8F11B56-B407-72B5-148C-2E2B1F73BF7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29800" y="530086"/>
            <a:ext cx="1905000" cy="698500"/>
          </a:xfrm>
          <a:prstGeom prst="rect">
            <a:avLst/>
          </a:prstGeom>
        </p:spPr>
      </p:pic>
      <p:sp>
        <p:nvSpPr>
          <p:cNvPr id="2" name="Title 2">
            <a:extLst>
              <a:ext uri="{FF2B5EF4-FFF2-40B4-BE49-F238E27FC236}">
                <a16:creationId xmlns:a16="http://schemas.microsoft.com/office/drawing/2014/main" id="{B0F84602-7238-C2A3-6931-C2687BA05002}"/>
              </a:ext>
            </a:extLst>
          </p:cNvPr>
          <p:cNvSpPr>
            <a:spLocks noGrp="1"/>
          </p:cNvSpPr>
          <p:nvPr>
            <p:ph type="title"/>
          </p:nvPr>
        </p:nvSpPr>
        <p:spPr>
          <a:xfrm>
            <a:off x="1166026" y="2876614"/>
            <a:ext cx="7424334" cy="1327928"/>
          </a:xfrm>
        </p:spPr>
        <p:txBody>
          <a:bodyPr/>
          <a:lstStyle/>
          <a:p>
            <a:pPr>
              <a:lnSpc>
                <a:spcPts val="3500"/>
              </a:lnSpc>
              <a:spcBef>
                <a:spcPts val="0"/>
              </a:spcBef>
            </a:pPr>
            <a:br>
              <a:rPr lang="es-PE" sz="2800" dirty="0">
                <a:latin typeface="Source Sans Pro" panose="020B0503030403020204" pitchFamily="34" charset="0"/>
                <a:ea typeface="Source Sans Pro" panose="020B0503030403020204" pitchFamily="34" charset="0"/>
              </a:rPr>
            </a:br>
            <a:r>
              <a:rPr lang="es-MX" sz="2800" b="1" dirty="0">
                <a:solidFill>
                  <a:srgbClr val="3FA7A7"/>
                </a:solidFill>
                <a:latin typeface="Source Sans Pro"/>
                <a:ea typeface="Source Sans Pro"/>
                <a:cs typeface="Open Sans"/>
              </a:rPr>
              <a:t>Seguridad del Dato</a:t>
            </a:r>
            <a:br>
              <a:rPr lang="es-MX" sz="2800" b="1" dirty="0">
                <a:latin typeface="Source Sans Pro" panose="020B0503030403020204" pitchFamily="34" charset="0"/>
                <a:ea typeface="Source Sans Pro" panose="020B0503030403020204" pitchFamily="34" charset="0"/>
                <a:cs typeface="Open Sans"/>
              </a:rPr>
            </a:br>
            <a:endParaRPr lang="es-MX" sz="2800" b="1" dirty="0">
              <a:solidFill>
                <a:srgbClr val="3FA7A7"/>
              </a:solidFill>
              <a:latin typeface="Source Sans Pro" panose="020B0503030403020204" pitchFamily="34" charset="0"/>
              <a:ea typeface="Source Sans Pro" panose="020B0503030403020204" pitchFamily="34" charset="0"/>
              <a:cs typeface="Open Sans"/>
            </a:endParaRPr>
          </a:p>
        </p:txBody>
      </p:sp>
      <p:cxnSp>
        <p:nvCxnSpPr>
          <p:cNvPr id="44" name="Straight Connector 43">
            <a:extLst>
              <a:ext uri="{FF2B5EF4-FFF2-40B4-BE49-F238E27FC236}">
                <a16:creationId xmlns:a16="http://schemas.microsoft.com/office/drawing/2014/main" id="{AB87D1C1-747D-9F59-68BF-B6671BD2C655}"/>
              </a:ext>
            </a:extLst>
          </p:cNvPr>
          <p:cNvCxnSpPr>
            <a:cxnSpLocks/>
          </p:cNvCxnSpPr>
          <p:nvPr/>
        </p:nvCxnSpPr>
        <p:spPr>
          <a:xfrm>
            <a:off x="1169210" y="3935205"/>
            <a:ext cx="4785867" cy="0"/>
          </a:xfrm>
          <a:prstGeom prst="line">
            <a:avLst/>
          </a:prstGeom>
          <a:noFill/>
          <a:ln w="19050" cap="flat" cmpd="sng" algn="ctr">
            <a:solidFill>
              <a:schemeClr val="tx1">
                <a:lumMod val="50000"/>
                <a:lumOff val="50000"/>
              </a:schemeClr>
            </a:solidFill>
            <a:prstDash val="solid"/>
            <a:miter lim="800000"/>
            <a:headEnd type="oval"/>
            <a:tailEnd type="oval"/>
          </a:ln>
          <a:effectLst/>
        </p:spPr>
      </p:cxnSp>
      <p:pic>
        <p:nvPicPr>
          <p:cNvPr id="49" name="Picture 2" descr="Resultado de imagen para minsur">
            <a:extLst>
              <a:ext uri="{FF2B5EF4-FFF2-40B4-BE49-F238E27FC236}">
                <a16:creationId xmlns:a16="http://schemas.microsoft.com/office/drawing/2014/main" id="{06EA70DC-D18E-C4F8-6052-AAB8DBA351A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60047" y="1144115"/>
            <a:ext cx="1615333" cy="411933"/>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Servicios – Ensys">
            <a:extLst>
              <a:ext uri="{FF2B5EF4-FFF2-40B4-BE49-F238E27FC236}">
                <a16:creationId xmlns:a16="http://schemas.microsoft.com/office/drawing/2014/main" id="{9F13D572-2EA2-C80B-7D24-F40B6E5D928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551552" y="1137692"/>
            <a:ext cx="2203160" cy="42477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Raura Compañía Minera">
            <a:extLst>
              <a:ext uri="{FF2B5EF4-FFF2-40B4-BE49-F238E27FC236}">
                <a16:creationId xmlns:a16="http://schemas.microsoft.com/office/drawing/2014/main" id="{118B7390-4208-9AB4-BBA2-555E238264C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930884" y="1144115"/>
            <a:ext cx="395744" cy="41193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Compañía Minera Raura | LinkedIn">
            <a:extLst>
              <a:ext uri="{FF2B5EF4-FFF2-40B4-BE49-F238E27FC236}">
                <a16:creationId xmlns:a16="http://schemas.microsoft.com/office/drawing/2014/main" id="{8643C8C0-D26F-3E23-3E27-5A909D92216E}"/>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32938" t="40358" r="-774" b="38386"/>
          <a:stretch>
            <a:fillRect/>
          </a:stretch>
        </p:blipFill>
        <p:spPr bwMode="auto">
          <a:xfrm>
            <a:off x="5449861" y="1283331"/>
            <a:ext cx="1292277" cy="404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4931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CFE3CA-5CA5-AAB2-9D90-561D052B515E}"/>
            </a:ext>
          </a:extLst>
        </p:cNvPr>
        <p:cNvGrpSpPr/>
        <p:nvPr/>
      </p:nvGrpSpPr>
      <p:grpSpPr>
        <a:xfrm>
          <a:off x="0" y="0"/>
          <a:ext cx="0" cy="0"/>
          <a:chOff x="0" y="0"/>
          <a:chExt cx="0" cy="0"/>
        </a:xfrm>
      </p:grpSpPr>
      <p:pic>
        <p:nvPicPr>
          <p:cNvPr id="7" name="Imagen 6" descr="Imagen que contiene Logotipo&#10;&#10;Descripción generada automáticamente">
            <a:extLst>
              <a:ext uri="{FF2B5EF4-FFF2-40B4-BE49-F238E27FC236}">
                <a16:creationId xmlns:a16="http://schemas.microsoft.com/office/drawing/2014/main" id="{0C827434-7ADF-FD6B-077B-BB669250270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0800000">
            <a:off x="5081070" y="5797825"/>
            <a:ext cx="7110930" cy="1060175"/>
          </a:xfrm>
          <a:prstGeom prst="rect">
            <a:avLst/>
          </a:prstGeom>
        </p:spPr>
      </p:pic>
      <p:graphicFrame>
        <p:nvGraphicFramePr>
          <p:cNvPr id="3" name="Objeto 2" hidden="1">
            <a:extLst>
              <a:ext uri="{FF2B5EF4-FFF2-40B4-BE49-F238E27FC236}">
                <a16:creationId xmlns:a16="http://schemas.microsoft.com/office/drawing/2014/main" id="{30731352-1A66-0E35-8F6A-289821F1B23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3" name="Objeto 2" hidden="1">
                        <a:extLst>
                          <a:ext uri="{FF2B5EF4-FFF2-40B4-BE49-F238E27FC236}">
                            <a16:creationId xmlns:a16="http://schemas.microsoft.com/office/drawing/2014/main" id="{30731352-1A66-0E35-8F6A-289821F1B23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4F4BCE83-7254-3DA3-E168-19D45B9C7024}"/>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28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sym typeface="Calibri" panose="020F0502020204030204" pitchFamily="34" charset="0"/>
            </a:endParaRPr>
          </a:p>
        </p:txBody>
      </p:sp>
      <p:pic>
        <p:nvPicPr>
          <p:cNvPr id="38" name="Imagen 37" descr="Imagen que contiene Logotipo&#10;&#10;Descripción generada automáticamente">
            <a:extLst>
              <a:ext uri="{FF2B5EF4-FFF2-40B4-BE49-F238E27FC236}">
                <a16:creationId xmlns:a16="http://schemas.microsoft.com/office/drawing/2014/main" id="{B81A5DF0-7091-FA5F-DA5C-BC81625AAE2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7110930" cy="1060175"/>
          </a:xfrm>
          <a:prstGeom prst="rect">
            <a:avLst/>
          </a:prstGeom>
        </p:spPr>
      </p:pic>
      <p:pic>
        <p:nvPicPr>
          <p:cNvPr id="6" name="Imagen 5" descr="Logotipo&#10;&#10;Descripción generada automáticamente">
            <a:extLst>
              <a:ext uri="{FF2B5EF4-FFF2-40B4-BE49-F238E27FC236}">
                <a16:creationId xmlns:a16="http://schemas.microsoft.com/office/drawing/2014/main" id="{A26F8CBC-164D-EE5B-B177-518680CEE22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29800" y="530086"/>
            <a:ext cx="1905000" cy="698500"/>
          </a:xfrm>
          <a:prstGeom prst="rect">
            <a:avLst/>
          </a:prstGeom>
        </p:spPr>
      </p:pic>
      <p:sp>
        <p:nvSpPr>
          <p:cNvPr id="2" name="Title 2">
            <a:extLst>
              <a:ext uri="{FF2B5EF4-FFF2-40B4-BE49-F238E27FC236}">
                <a16:creationId xmlns:a16="http://schemas.microsoft.com/office/drawing/2014/main" id="{1C304230-43B8-AE57-A687-6D3AE3CC2DFB}"/>
              </a:ext>
            </a:extLst>
          </p:cNvPr>
          <p:cNvSpPr>
            <a:spLocks noGrp="1"/>
          </p:cNvSpPr>
          <p:nvPr>
            <p:ph type="title"/>
          </p:nvPr>
        </p:nvSpPr>
        <p:spPr>
          <a:xfrm>
            <a:off x="816733" y="675148"/>
            <a:ext cx="5279267" cy="492443"/>
          </a:xfrm>
        </p:spPr>
        <p:txBody>
          <a:bodyPr anchor="ctr"/>
          <a:lstStyle/>
          <a:p>
            <a:pPr algn="ctr">
              <a:lnSpc>
                <a:spcPct val="100000"/>
              </a:lnSpc>
              <a:spcBef>
                <a:spcPts val="0"/>
              </a:spcBef>
            </a:pPr>
            <a:r>
              <a:rPr lang="es-PE" sz="3200" b="1" dirty="0">
                <a:solidFill>
                  <a:srgbClr val="3FA7A7"/>
                </a:solidFill>
                <a:latin typeface="Source Sans Pro" panose="020B0503030403020204" pitchFamily="34" charset="0"/>
                <a:ea typeface="Source Sans Pro" panose="020B0503030403020204" pitchFamily="34" charset="0"/>
                <a:cs typeface="Open Sans"/>
              </a:rPr>
              <a:t>Clasificación de Seguridad</a:t>
            </a:r>
            <a:endParaRPr lang="es-PE" sz="3200" b="1" noProof="0" dirty="0">
              <a:solidFill>
                <a:srgbClr val="3FA7A7"/>
              </a:solidFill>
              <a:latin typeface="Source Sans Pro" panose="020B0503030403020204" pitchFamily="34" charset="0"/>
              <a:ea typeface="Source Sans Pro" panose="020B0503030403020204" pitchFamily="34" charset="0"/>
              <a:cs typeface="Open Sans"/>
            </a:endParaRPr>
          </a:p>
        </p:txBody>
      </p:sp>
      <p:pic>
        <p:nvPicPr>
          <p:cNvPr id="11" name="Imagen 10">
            <a:extLst>
              <a:ext uri="{FF2B5EF4-FFF2-40B4-BE49-F238E27FC236}">
                <a16:creationId xmlns:a16="http://schemas.microsoft.com/office/drawing/2014/main" id="{766B617C-F872-4C3D-D69E-DCC28F7943AA}"/>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1527290" y="1530652"/>
            <a:ext cx="1497417" cy="1497417"/>
          </a:xfrm>
          <a:prstGeom prst="rect">
            <a:avLst/>
          </a:prstGeom>
        </p:spPr>
      </p:pic>
      <p:sp>
        <p:nvSpPr>
          <p:cNvPr id="19" name="Text 2">
            <a:extLst>
              <a:ext uri="{FF2B5EF4-FFF2-40B4-BE49-F238E27FC236}">
                <a16:creationId xmlns:a16="http://schemas.microsoft.com/office/drawing/2014/main" id="{F0FA2B78-5D10-5FD3-3E6D-2EA4E91FD1C5}"/>
              </a:ext>
            </a:extLst>
          </p:cNvPr>
          <p:cNvSpPr/>
          <p:nvPr/>
        </p:nvSpPr>
        <p:spPr>
          <a:xfrm>
            <a:off x="1027951" y="3138157"/>
            <a:ext cx="2496093" cy="430575"/>
          </a:xfrm>
          <a:prstGeom prst="rect">
            <a:avLst/>
          </a:prstGeom>
          <a:noFill/>
          <a:ln/>
        </p:spPr>
        <p:txBody>
          <a:bodyPr wrap="square" lIns="0" tIns="0" rIns="0" bIns="0" rtlCol="0" anchor="t"/>
          <a:lstStyle/>
          <a:p>
            <a:pPr marL="0" indent="0" algn="ctr">
              <a:lnSpc>
                <a:spcPts val="2850"/>
              </a:lnSpc>
              <a:buNone/>
            </a:pPr>
            <a:r>
              <a:rPr lang="es-PE" sz="2200" b="1" dirty="0">
                <a:latin typeface="Trebuchet MS" panose="020B0603020202020204" pitchFamily="34" charset="0"/>
              </a:rPr>
              <a:t>Dato Confidencial</a:t>
            </a:r>
            <a:endParaRPr lang="es-PE" sz="2200" b="1" noProof="0" dirty="0">
              <a:latin typeface="Trebuchet MS" panose="020B0603020202020204" pitchFamily="34" charset="0"/>
            </a:endParaRPr>
          </a:p>
        </p:txBody>
      </p:sp>
      <p:pic>
        <p:nvPicPr>
          <p:cNvPr id="33" name="Imagen 32">
            <a:extLst>
              <a:ext uri="{FF2B5EF4-FFF2-40B4-BE49-F238E27FC236}">
                <a16:creationId xmlns:a16="http://schemas.microsoft.com/office/drawing/2014/main" id="{AB19D65C-5B37-5EA0-2E5D-0A11B7F330D8}"/>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5159702" y="1530652"/>
            <a:ext cx="1497417" cy="1497417"/>
          </a:xfrm>
          <a:prstGeom prst="rect">
            <a:avLst/>
          </a:prstGeom>
        </p:spPr>
      </p:pic>
      <p:pic>
        <p:nvPicPr>
          <p:cNvPr id="34" name="Imagen 33">
            <a:extLst>
              <a:ext uri="{FF2B5EF4-FFF2-40B4-BE49-F238E27FC236}">
                <a16:creationId xmlns:a16="http://schemas.microsoft.com/office/drawing/2014/main" id="{DDF00649-1BF0-B8E7-9669-90D2FFA9C3D3}"/>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9165457" y="1598343"/>
            <a:ext cx="1328685" cy="1328685"/>
          </a:xfrm>
          <a:prstGeom prst="rect">
            <a:avLst/>
          </a:prstGeom>
        </p:spPr>
      </p:pic>
      <p:sp>
        <p:nvSpPr>
          <p:cNvPr id="35" name="Text 2">
            <a:extLst>
              <a:ext uri="{FF2B5EF4-FFF2-40B4-BE49-F238E27FC236}">
                <a16:creationId xmlns:a16="http://schemas.microsoft.com/office/drawing/2014/main" id="{8E302292-9BE0-0942-1011-8AB4DF917FEC}"/>
              </a:ext>
            </a:extLst>
          </p:cNvPr>
          <p:cNvSpPr/>
          <p:nvPr/>
        </p:nvSpPr>
        <p:spPr>
          <a:xfrm>
            <a:off x="4786361" y="3138157"/>
            <a:ext cx="2244101" cy="430575"/>
          </a:xfrm>
          <a:prstGeom prst="rect">
            <a:avLst/>
          </a:prstGeom>
          <a:noFill/>
          <a:ln/>
        </p:spPr>
        <p:txBody>
          <a:bodyPr wrap="square" lIns="0" tIns="0" rIns="0" bIns="0" rtlCol="0" anchor="t"/>
          <a:lstStyle/>
          <a:p>
            <a:pPr marL="0" indent="0" algn="ctr">
              <a:lnSpc>
                <a:spcPts val="2850"/>
              </a:lnSpc>
              <a:buNone/>
            </a:pPr>
            <a:r>
              <a:rPr lang="es-PE" sz="2200" b="1" dirty="0">
                <a:latin typeface="Trebuchet MS" panose="020B0603020202020204" pitchFamily="34" charset="0"/>
              </a:rPr>
              <a:t>Dato Interno</a:t>
            </a:r>
            <a:endParaRPr lang="es-PE" sz="2200" b="1" noProof="0" dirty="0">
              <a:latin typeface="Trebuchet MS" panose="020B0603020202020204" pitchFamily="34" charset="0"/>
            </a:endParaRPr>
          </a:p>
        </p:txBody>
      </p:sp>
      <p:sp>
        <p:nvSpPr>
          <p:cNvPr id="36" name="Text 2">
            <a:extLst>
              <a:ext uri="{FF2B5EF4-FFF2-40B4-BE49-F238E27FC236}">
                <a16:creationId xmlns:a16="http://schemas.microsoft.com/office/drawing/2014/main" id="{D389118B-DBB9-A7F4-C06D-CAEF6FB4425B}"/>
              </a:ext>
            </a:extLst>
          </p:cNvPr>
          <p:cNvSpPr/>
          <p:nvPr/>
        </p:nvSpPr>
        <p:spPr>
          <a:xfrm>
            <a:off x="8543739" y="3138157"/>
            <a:ext cx="2244101" cy="430575"/>
          </a:xfrm>
          <a:prstGeom prst="rect">
            <a:avLst/>
          </a:prstGeom>
          <a:noFill/>
          <a:ln/>
        </p:spPr>
        <p:txBody>
          <a:bodyPr wrap="square" lIns="0" tIns="0" rIns="0" bIns="0" rtlCol="0" anchor="t"/>
          <a:lstStyle/>
          <a:p>
            <a:pPr marL="0" indent="0" algn="ctr">
              <a:lnSpc>
                <a:spcPts val="2850"/>
              </a:lnSpc>
              <a:buNone/>
            </a:pPr>
            <a:r>
              <a:rPr lang="es-PE" sz="2200" b="1" dirty="0">
                <a:latin typeface="Trebuchet MS" panose="020B0603020202020204" pitchFamily="34" charset="0"/>
              </a:rPr>
              <a:t>Dato Público</a:t>
            </a:r>
            <a:endParaRPr lang="es-PE" sz="2200" b="1" noProof="0" dirty="0">
              <a:latin typeface="Trebuchet MS" panose="020B0603020202020204" pitchFamily="34" charset="0"/>
            </a:endParaRPr>
          </a:p>
        </p:txBody>
      </p:sp>
      <p:sp>
        <p:nvSpPr>
          <p:cNvPr id="37" name="Text 2">
            <a:extLst>
              <a:ext uri="{FF2B5EF4-FFF2-40B4-BE49-F238E27FC236}">
                <a16:creationId xmlns:a16="http://schemas.microsoft.com/office/drawing/2014/main" id="{4CB131E7-1AA2-797B-CF15-F8DF2AF4D0F1}"/>
              </a:ext>
            </a:extLst>
          </p:cNvPr>
          <p:cNvSpPr/>
          <p:nvPr/>
        </p:nvSpPr>
        <p:spPr>
          <a:xfrm>
            <a:off x="623046" y="3724369"/>
            <a:ext cx="3224860" cy="1814929"/>
          </a:xfrm>
          <a:prstGeom prst="rect">
            <a:avLst/>
          </a:prstGeom>
          <a:noFill/>
          <a:ln/>
        </p:spPr>
        <p:txBody>
          <a:bodyPr wrap="square" lIns="0" tIns="0" rIns="0" bIns="0" rtlCol="0" anchor="t"/>
          <a:lstStyle/>
          <a:p>
            <a:pPr marL="0" indent="0" algn="just">
              <a:buNone/>
            </a:pPr>
            <a:r>
              <a:rPr lang="es-PE" sz="1600" dirty="0">
                <a:latin typeface="Trebuchet MS" panose="020B0603020202020204" pitchFamily="34" charset="0"/>
              </a:rPr>
              <a:t>Datos de alta sensibilidad que debe ser </a:t>
            </a:r>
            <a:r>
              <a:rPr lang="es-PE" sz="1600" b="1" dirty="0">
                <a:solidFill>
                  <a:srgbClr val="FF0000"/>
                </a:solidFill>
                <a:latin typeface="Trebuchet MS" panose="020B0603020202020204" pitchFamily="34" charset="0"/>
              </a:rPr>
              <a:t>protegida</a:t>
            </a:r>
            <a:r>
              <a:rPr lang="es-PE" sz="1600" dirty="0">
                <a:latin typeface="Trebuchet MS" panose="020B0603020202020204" pitchFamily="34" charset="0"/>
              </a:rPr>
              <a:t> por su relevancia </a:t>
            </a:r>
            <a:r>
              <a:rPr lang="es-PE" sz="1600" b="1" dirty="0">
                <a:solidFill>
                  <a:srgbClr val="FF0000"/>
                </a:solidFill>
                <a:latin typeface="Trebuchet MS" panose="020B0603020202020204" pitchFamily="34" charset="0"/>
              </a:rPr>
              <a:t>legal, financiera o estratégica</a:t>
            </a:r>
          </a:p>
          <a:p>
            <a:pPr marL="0" indent="0" algn="just">
              <a:buNone/>
            </a:pPr>
            <a:endParaRPr lang="es-PE" sz="1600" noProof="0" dirty="0">
              <a:latin typeface="Trebuchet MS" panose="020B0603020202020204" pitchFamily="34" charset="0"/>
            </a:endParaRPr>
          </a:p>
          <a:p>
            <a:pPr marL="0" indent="0" algn="just">
              <a:buNone/>
            </a:pPr>
            <a:r>
              <a:rPr lang="es-PE" sz="1600" dirty="0" err="1">
                <a:latin typeface="Trebuchet MS" panose="020B0603020202020204" pitchFamily="34" charset="0"/>
              </a:rPr>
              <a:t>Ejm</a:t>
            </a:r>
            <a:r>
              <a:rPr lang="es-PE" sz="1600" dirty="0">
                <a:latin typeface="Trebuchet MS" panose="020B0603020202020204" pitchFamily="34" charset="0"/>
              </a:rPr>
              <a:t>: Alianzas estratégicas, Resultados financieros.</a:t>
            </a:r>
          </a:p>
        </p:txBody>
      </p:sp>
      <p:sp>
        <p:nvSpPr>
          <p:cNvPr id="5" name="Text 2">
            <a:extLst>
              <a:ext uri="{FF2B5EF4-FFF2-40B4-BE49-F238E27FC236}">
                <a16:creationId xmlns:a16="http://schemas.microsoft.com/office/drawing/2014/main" id="{1FAB1366-D832-66F9-0562-44968D485E68}"/>
              </a:ext>
            </a:extLst>
          </p:cNvPr>
          <p:cNvSpPr/>
          <p:nvPr/>
        </p:nvSpPr>
        <p:spPr>
          <a:xfrm>
            <a:off x="4500127" y="3730255"/>
            <a:ext cx="3224860" cy="1809043"/>
          </a:xfrm>
          <a:prstGeom prst="rect">
            <a:avLst/>
          </a:prstGeom>
          <a:noFill/>
          <a:ln/>
        </p:spPr>
        <p:txBody>
          <a:bodyPr wrap="square" lIns="0" tIns="0" rIns="0" bIns="0" rtlCol="0" anchor="t"/>
          <a:lstStyle/>
          <a:p>
            <a:pPr marL="0" indent="0" algn="just">
              <a:buNone/>
            </a:pPr>
            <a:r>
              <a:rPr lang="es-PE" sz="1600" dirty="0">
                <a:latin typeface="Trebuchet MS" panose="020B0603020202020204" pitchFamily="34" charset="0"/>
              </a:rPr>
              <a:t>Dato que debe mantenerse en el </a:t>
            </a:r>
            <a:r>
              <a:rPr lang="es-PE" sz="1600" b="1" dirty="0">
                <a:solidFill>
                  <a:srgbClr val="FF0000"/>
                </a:solidFill>
                <a:latin typeface="Trebuchet MS" panose="020B0603020202020204" pitchFamily="34" charset="0"/>
              </a:rPr>
              <a:t>ámbito interno </a:t>
            </a:r>
            <a:r>
              <a:rPr lang="es-PE" sz="1600" dirty="0">
                <a:latin typeface="Trebuchet MS" panose="020B0603020202020204" pitchFamily="34" charset="0"/>
              </a:rPr>
              <a:t>de la empresa. Puede ser </a:t>
            </a:r>
            <a:r>
              <a:rPr lang="es-PE" sz="1600" b="1" dirty="0">
                <a:solidFill>
                  <a:srgbClr val="FF0000"/>
                </a:solidFill>
                <a:latin typeface="Trebuchet MS" panose="020B0603020202020204" pitchFamily="34" charset="0"/>
              </a:rPr>
              <a:t>compartido</a:t>
            </a:r>
            <a:r>
              <a:rPr lang="es-PE" sz="1600" dirty="0">
                <a:latin typeface="Trebuchet MS" panose="020B0603020202020204" pitchFamily="34" charset="0"/>
              </a:rPr>
              <a:t> entre las </a:t>
            </a:r>
            <a:r>
              <a:rPr lang="es-PE" sz="1600" b="1" dirty="0">
                <a:solidFill>
                  <a:srgbClr val="FF0000"/>
                </a:solidFill>
                <a:latin typeface="Trebuchet MS" panose="020B0603020202020204" pitchFamily="34" charset="0"/>
              </a:rPr>
              <a:t>áreas</a:t>
            </a:r>
            <a:r>
              <a:rPr lang="es-PE" sz="1600" dirty="0">
                <a:latin typeface="Trebuchet MS" panose="020B0603020202020204" pitchFamily="34" charset="0"/>
              </a:rPr>
              <a:t> de la empresa.</a:t>
            </a:r>
          </a:p>
          <a:p>
            <a:pPr marL="0" indent="0" algn="just">
              <a:buNone/>
            </a:pPr>
            <a:endParaRPr lang="es-PE" sz="1600" noProof="0" dirty="0">
              <a:latin typeface="Trebuchet MS" panose="020B0603020202020204" pitchFamily="34" charset="0"/>
            </a:endParaRPr>
          </a:p>
          <a:p>
            <a:pPr marL="0" indent="0" algn="just">
              <a:buNone/>
            </a:pPr>
            <a:r>
              <a:rPr lang="es-PE" sz="1600" dirty="0" err="1">
                <a:latin typeface="Trebuchet MS" panose="020B0603020202020204" pitchFamily="34" charset="0"/>
              </a:rPr>
              <a:t>Ejm</a:t>
            </a:r>
            <a:r>
              <a:rPr lang="es-PE" sz="1600" dirty="0">
                <a:latin typeface="Trebuchet MS" panose="020B0603020202020204" pitchFamily="34" charset="0"/>
              </a:rPr>
              <a:t>: Reglamento interno, Organigramas.</a:t>
            </a:r>
            <a:endParaRPr lang="es-PE" sz="1600" noProof="0" dirty="0">
              <a:latin typeface="Trebuchet MS" panose="020B0603020202020204" pitchFamily="34" charset="0"/>
            </a:endParaRPr>
          </a:p>
        </p:txBody>
      </p:sp>
      <p:sp>
        <p:nvSpPr>
          <p:cNvPr id="8" name="Text 2">
            <a:extLst>
              <a:ext uri="{FF2B5EF4-FFF2-40B4-BE49-F238E27FC236}">
                <a16:creationId xmlns:a16="http://schemas.microsoft.com/office/drawing/2014/main" id="{7BD366FF-D730-A9C1-BDBC-668DD50D8975}"/>
              </a:ext>
            </a:extLst>
          </p:cNvPr>
          <p:cNvSpPr/>
          <p:nvPr/>
        </p:nvSpPr>
        <p:spPr>
          <a:xfrm>
            <a:off x="8240518" y="3724369"/>
            <a:ext cx="3224860" cy="1535288"/>
          </a:xfrm>
          <a:prstGeom prst="rect">
            <a:avLst/>
          </a:prstGeom>
          <a:noFill/>
          <a:ln/>
        </p:spPr>
        <p:txBody>
          <a:bodyPr wrap="square" lIns="0" tIns="0" rIns="0" bIns="0" rtlCol="0" anchor="t"/>
          <a:lstStyle/>
          <a:p>
            <a:pPr marL="0" indent="0" algn="just">
              <a:buNone/>
            </a:pPr>
            <a:r>
              <a:rPr lang="es-PE" sz="1600" dirty="0">
                <a:latin typeface="Trebuchet MS" panose="020B0603020202020204" pitchFamily="34" charset="0"/>
              </a:rPr>
              <a:t>Dato tratado, preparado y aprobado para ser </a:t>
            </a:r>
            <a:r>
              <a:rPr lang="es-PE" sz="1600" b="1" dirty="0">
                <a:solidFill>
                  <a:srgbClr val="FF0000"/>
                </a:solidFill>
                <a:latin typeface="Trebuchet MS" panose="020B0603020202020204" pitchFamily="34" charset="0"/>
              </a:rPr>
              <a:t>expuesto</a:t>
            </a:r>
            <a:r>
              <a:rPr lang="es-PE" sz="1600" dirty="0">
                <a:latin typeface="Trebuchet MS" panose="020B0603020202020204" pitchFamily="34" charset="0"/>
              </a:rPr>
              <a:t> al uso del </a:t>
            </a:r>
            <a:r>
              <a:rPr lang="es-PE" sz="1600" b="1" dirty="0">
                <a:solidFill>
                  <a:srgbClr val="FF0000"/>
                </a:solidFill>
                <a:latin typeface="Trebuchet MS" panose="020B0603020202020204" pitchFamily="34" charset="0"/>
              </a:rPr>
              <a:t>público.</a:t>
            </a:r>
          </a:p>
          <a:p>
            <a:pPr marL="0" indent="0" algn="just">
              <a:buNone/>
            </a:pPr>
            <a:endParaRPr lang="es-PE" sz="1600" noProof="0" dirty="0">
              <a:latin typeface="Trebuchet MS" panose="020B0603020202020204" pitchFamily="34" charset="0"/>
            </a:endParaRPr>
          </a:p>
          <a:p>
            <a:pPr marL="0" indent="0" algn="just">
              <a:buNone/>
            </a:pPr>
            <a:endParaRPr lang="es-PE" sz="1600" noProof="0" dirty="0">
              <a:latin typeface="Trebuchet MS" panose="020B0603020202020204" pitchFamily="34" charset="0"/>
            </a:endParaRPr>
          </a:p>
          <a:p>
            <a:pPr marL="0" indent="0" algn="just">
              <a:buNone/>
            </a:pPr>
            <a:r>
              <a:rPr lang="es-PE" sz="1600" dirty="0" err="1">
                <a:latin typeface="Trebuchet MS" panose="020B0603020202020204" pitchFamily="34" charset="0"/>
              </a:rPr>
              <a:t>Ejm</a:t>
            </a:r>
            <a:r>
              <a:rPr lang="es-PE" sz="1600" dirty="0">
                <a:latin typeface="Trebuchet MS" panose="020B0603020202020204" pitchFamily="34" charset="0"/>
              </a:rPr>
              <a:t>: Reporte de Sostenibilidad.</a:t>
            </a:r>
            <a:endParaRPr lang="es-PE" sz="1600" noProof="0" dirty="0">
              <a:latin typeface="Trebuchet MS" panose="020B0603020202020204" pitchFamily="34" charset="0"/>
            </a:endParaRPr>
          </a:p>
        </p:txBody>
      </p:sp>
      <p:sp>
        <p:nvSpPr>
          <p:cNvPr id="9" name="CuadroTexto 8">
            <a:extLst>
              <a:ext uri="{FF2B5EF4-FFF2-40B4-BE49-F238E27FC236}">
                <a16:creationId xmlns:a16="http://schemas.microsoft.com/office/drawing/2014/main" id="{6C79A20D-E4F7-4E5E-A0CF-8C27A19C5E54}"/>
              </a:ext>
            </a:extLst>
          </p:cNvPr>
          <p:cNvSpPr txBox="1"/>
          <p:nvPr/>
        </p:nvSpPr>
        <p:spPr>
          <a:xfrm>
            <a:off x="6481782" y="6596390"/>
            <a:ext cx="6368013" cy="261610"/>
          </a:xfrm>
          <a:prstGeom prst="rect">
            <a:avLst/>
          </a:prstGeom>
          <a:noFill/>
        </p:spPr>
        <p:txBody>
          <a:bodyPr wrap="square" rtlCol="0">
            <a:spAutoFit/>
          </a:bodyPr>
          <a:lstStyle/>
          <a:p>
            <a:r>
              <a:rPr lang="es-ES" sz="1100" b="1" dirty="0"/>
              <a:t>Doc. De Referencia: </a:t>
            </a:r>
            <a:r>
              <a:rPr lang="pt-BR" sz="1100" b="1" dirty="0"/>
              <a:t>DG-POL-PCSD-MINS-001-Política Corporativo de </a:t>
            </a:r>
            <a:r>
              <a:rPr lang="pt-BR" sz="1100" b="1" dirty="0" err="1"/>
              <a:t>Seguridad</a:t>
            </a:r>
            <a:r>
              <a:rPr lang="pt-BR" sz="1100" b="1" dirty="0"/>
              <a:t> de </a:t>
            </a:r>
            <a:r>
              <a:rPr lang="pt-BR" sz="1100" b="1" dirty="0" err="1"/>
              <a:t>Datos</a:t>
            </a:r>
            <a:r>
              <a:rPr lang="pt-BR" sz="1100" b="1" dirty="0"/>
              <a:t> v1.0</a:t>
            </a:r>
            <a:endParaRPr lang="es-PE" sz="1100" b="1" dirty="0"/>
          </a:p>
        </p:txBody>
      </p:sp>
    </p:spTree>
    <p:extLst>
      <p:ext uri="{BB962C8B-B14F-4D97-AF65-F5344CB8AC3E}">
        <p14:creationId xmlns:p14="http://schemas.microsoft.com/office/powerpoint/2010/main" val="11602752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662185DF-7C43-4818-980E-8591633A15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to 2" hidden="1">
                        <a:extLst>
                          <a:ext uri="{FF2B5EF4-FFF2-40B4-BE49-F238E27FC236}">
                            <a16:creationId xmlns:a16="http://schemas.microsoft.com/office/drawing/2014/main" id="{662185DF-7C43-4818-980E-8591633A155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98042880-BDA9-43DD-8C8D-77AE28A8BFA8}"/>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28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sym typeface="Calibri" panose="020F0502020204030204" pitchFamily="34" charset="0"/>
            </a:endParaRPr>
          </a:p>
        </p:txBody>
      </p:sp>
      <p:pic>
        <p:nvPicPr>
          <p:cNvPr id="38" name="Imagen 37" descr="Imagen que contiene Logotipo&#10;&#10;Descripción generada automáticamente">
            <a:extLst>
              <a:ext uri="{FF2B5EF4-FFF2-40B4-BE49-F238E27FC236}">
                <a16:creationId xmlns:a16="http://schemas.microsoft.com/office/drawing/2014/main" id="{294B8260-9609-A349-BF29-344640D7CCA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7110930" cy="1060175"/>
          </a:xfrm>
          <a:prstGeom prst="rect">
            <a:avLst/>
          </a:prstGeom>
        </p:spPr>
      </p:pic>
      <p:pic>
        <p:nvPicPr>
          <p:cNvPr id="6" name="Imagen 5" descr="Logotipo&#10;&#10;Descripción generada automáticamente">
            <a:extLst>
              <a:ext uri="{FF2B5EF4-FFF2-40B4-BE49-F238E27FC236}">
                <a16:creationId xmlns:a16="http://schemas.microsoft.com/office/drawing/2014/main" id="{6892CD4E-2C87-0B78-CFEC-BAC2F8583A0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29800" y="530086"/>
            <a:ext cx="1905000" cy="698500"/>
          </a:xfrm>
          <a:prstGeom prst="rect">
            <a:avLst/>
          </a:prstGeom>
        </p:spPr>
      </p:pic>
      <p:sp>
        <p:nvSpPr>
          <p:cNvPr id="13" name="CuadroTexto 12">
            <a:extLst>
              <a:ext uri="{FF2B5EF4-FFF2-40B4-BE49-F238E27FC236}">
                <a16:creationId xmlns:a16="http://schemas.microsoft.com/office/drawing/2014/main" id="{6FBB84F0-9683-05A2-875C-3EAB48E6D41F}"/>
              </a:ext>
            </a:extLst>
          </p:cNvPr>
          <p:cNvSpPr txBox="1"/>
          <p:nvPr/>
        </p:nvSpPr>
        <p:spPr>
          <a:xfrm>
            <a:off x="1231709" y="992057"/>
            <a:ext cx="10503091" cy="473058"/>
          </a:xfrm>
          <a:prstGeom prst="rect">
            <a:avLst/>
          </a:prstGeom>
        </p:spPr>
        <p:txBody>
          <a:bodyPr vert="horz" lIns="121920" tIns="60960" rIns="121920" bIns="60960" rtlCol="0" anchor="ctr">
            <a:noAutofit/>
          </a:bodyPr>
          <a:lstStyle/>
          <a:p>
            <a:pPr>
              <a:spcBef>
                <a:spcPct val="20000"/>
              </a:spcBef>
            </a:pPr>
            <a:r>
              <a:rPr lang="es-PE" sz="2800" b="1" noProof="0" dirty="0">
                <a:solidFill>
                  <a:srgbClr val="3FA7A7"/>
                </a:solidFill>
                <a:latin typeface="Source Sans Pro" panose="020B0503030403020204" pitchFamily="34" charset="0"/>
                <a:ea typeface="Source Sans Pro" panose="020B0503030403020204" pitchFamily="34" charset="0"/>
                <a:cs typeface="Open Sans"/>
              </a:rPr>
              <a:t>CONTENIDO</a:t>
            </a:r>
            <a:endParaRPr lang="es-PE" sz="2800" b="1" noProof="0" dirty="0">
              <a:solidFill>
                <a:srgbClr val="3FA7A7"/>
              </a:solidFill>
              <a:latin typeface="Source Sans Pro" panose="020B0503030403020204" pitchFamily="34" charset="0"/>
              <a:ea typeface="Source Sans Pro" panose="020B0503030403020204" pitchFamily="34" charset="0"/>
              <a:cs typeface="Open Sans" panose="020B0606030504020204" pitchFamily="34" charset="0"/>
            </a:endParaRPr>
          </a:p>
        </p:txBody>
      </p:sp>
      <p:sp>
        <p:nvSpPr>
          <p:cNvPr id="5" name="Rectángulo 4">
            <a:extLst>
              <a:ext uri="{FF2B5EF4-FFF2-40B4-BE49-F238E27FC236}">
                <a16:creationId xmlns:a16="http://schemas.microsoft.com/office/drawing/2014/main" id="{15E6A98B-72CE-07E4-F8CF-AD2E6371A9A7}"/>
              </a:ext>
            </a:extLst>
          </p:cNvPr>
          <p:cNvSpPr/>
          <p:nvPr/>
        </p:nvSpPr>
        <p:spPr>
          <a:xfrm>
            <a:off x="1405404" y="1927086"/>
            <a:ext cx="6761897" cy="4660378"/>
          </a:xfrm>
          <a:prstGeom prst="rect">
            <a:avLst/>
          </a:prstGeom>
        </p:spPr>
        <p:txBody>
          <a:bodyPr wrap="square" lIns="91440" tIns="45720" rIns="91440" bIns="45720" numCol="1" anchor="t">
            <a:spAutoFit/>
          </a:bodyPr>
          <a:lstStyle/>
          <a:p>
            <a:pPr marL="399415" indent="-399415" defTabSz="1219170" fontAlgn="base">
              <a:lnSpc>
                <a:spcPct val="150000"/>
              </a:lnSpc>
              <a:spcBef>
                <a:spcPct val="0"/>
              </a:spcBef>
              <a:spcAft>
                <a:spcPct val="0"/>
              </a:spcAft>
              <a:buClr>
                <a:srgbClr val="3DAFAF"/>
              </a:buClr>
              <a:buFont typeface="+mj-lt"/>
              <a:buAutoNum type="romanLcPeriod"/>
            </a:pPr>
            <a:r>
              <a:rPr lang="es-PE" sz="2000" b="1" dirty="0">
                <a:solidFill>
                  <a:srgbClr val="7F7F7F"/>
                </a:solidFill>
                <a:latin typeface="Source Sans Pro" panose="020B0503030403020204" pitchFamily="34" charset="0"/>
                <a:ea typeface="Source Sans Pro" panose="020B0503030403020204" pitchFamily="34" charset="0"/>
                <a:cs typeface="Arial" pitchFamily="34" charset="0"/>
              </a:rPr>
              <a:t>Introducción</a:t>
            </a:r>
          </a:p>
          <a:p>
            <a:pPr marL="399415" indent="-399415" defTabSz="1219170" fontAlgn="base">
              <a:lnSpc>
                <a:spcPct val="150000"/>
              </a:lnSpc>
              <a:spcBef>
                <a:spcPct val="0"/>
              </a:spcBef>
              <a:spcAft>
                <a:spcPct val="0"/>
              </a:spcAft>
              <a:buClr>
                <a:srgbClr val="3DAFAF"/>
              </a:buClr>
              <a:buFont typeface="+mj-lt"/>
              <a:buAutoNum type="romanLcPeriod"/>
            </a:pPr>
            <a:r>
              <a:rPr lang="es-PE" sz="2000" b="1" dirty="0">
                <a:solidFill>
                  <a:srgbClr val="7F7F7F"/>
                </a:solidFill>
                <a:latin typeface="Source Sans Pro" panose="020B0503030403020204" pitchFamily="34" charset="0"/>
                <a:ea typeface="Source Sans Pro" panose="020B0503030403020204" pitchFamily="34" charset="0"/>
                <a:cs typeface="Arial" pitchFamily="34" charset="0"/>
              </a:rPr>
              <a:t>Beneficios</a:t>
            </a:r>
          </a:p>
          <a:p>
            <a:pPr marL="399415" indent="-399415" defTabSz="1219170" fontAlgn="base">
              <a:lnSpc>
                <a:spcPct val="150000"/>
              </a:lnSpc>
              <a:spcBef>
                <a:spcPct val="0"/>
              </a:spcBef>
              <a:spcAft>
                <a:spcPct val="0"/>
              </a:spcAft>
              <a:buClr>
                <a:srgbClr val="3DAFAF"/>
              </a:buClr>
              <a:buFont typeface="+mj-lt"/>
              <a:buAutoNum type="romanLcPeriod"/>
            </a:pPr>
            <a:r>
              <a:rPr lang="es-PE" sz="2000" b="1" dirty="0">
                <a:solidFill>
                  <a:srgbClr val="7F7F7F"/>
                </a:solidFill>
                <a:latin typeface="Source Sans Pro" panose="020B0503030403020204" pitchFamily="34" charset="0"/>
                <a:ea typeface="Source Sans Pro" panose="020B0503030403020204" pitchFamily="34" charset="0"/>
                <a:cs typeface="Arial" pitchFamily="34" charset="0"/>
              </a:rPr>
              <a:t>Documentos Desarrollados</a:t>
            </a:r>
          </a:p>
          <a:p>
            <a:pPr marL="399415" indent="-399415" defTabSz="1219170" fontAlgn="base">
              <a:lnSpc>
                <a:spcPct val="150000"/>
              </a:lnSpc>
              <a:spcBef>
                <a:spcPct val="0"/>
              </a:spcBef>
              <a:spcAft>
                <a:spcPct val="0"/>
              </a:spcAft>
              <a:buClr>
                <a:srgbClr val="3DAFAF"/>
              </a:buClr>
              <a:buFont typeface="+mj-lt"/>
              <a:buAutoNum type="romanLcPeriod"/>
            </a:pPr>
            <a:r>
              <a:rPr lang="es-PE" sz="2000" b="1" dirty="0">
                <a:solidFill>
                  <a:srgbClr val="7F7F7F"/>
                </a:solidFill>
                <a:latin typeface="Source Sans Pro" panose="020B0503030403020204" pitchFamily="34" charset="0"/>
                <a:ea typeface="Source Sans Pro" panose="020B0503030403020204" pitchFamily="34" charset="0"/>
                <a:cs typeface="Arial" pitchFamily="34" charset="0"/>
              </a:rPr>
              <a:t>Gobierno del Dato</a:t>
            </a:r>
          </a:p>
          <a:p>
            <a:pPr marL="399415" indent="-399415" defTabSz="1219170" fontAlgn="base">
              <a:lnSpc>
                <a:spcPct val="150000"/>
              </a:lnSpc>
              <a:spcBef>
                <a:spcPct val="0"/>
              </a:spcBef>
              <a:spcAft>
                <a:spcPct val="0"/>
              </a:spcAft>
              <a:buClr>
                <a:srgbClr val="3DAFAF"/>
              </a:buClr>
              <a:buFont typeface="+mj-lt"/>
              <a:buAutoNum type="romanLcPeriod"/>
            </a:pPr>
            <a:r>
              <a:rPr lang="es-PE" sz="2000" b="1" dirty="0">
                <a:solidFill>
                  <a:srgbClr val="7F7F7F"/>
                </a:solidFill>
                <a:latin typeface="Source Sans Pro" panose="020B0503030403020204" pitchFamily="34" charset="0"/>
                <a:ea typeface="Source Sans Pro" panose="020B0503030403020204" pitchFamily="34" charset="0"/>
                <a:cs typeface="Arial" pitchFamily="34" charset="0"/>
              </a:rPr>
              <a:t>Arquitectura y </a:t>
            </a:r>
            <a:r>
              <a:rPr lang="es-PE" sz="2000" b="1" dirty="0" err="1">
                <a:solidFill>
                  <a:srgbClr val="7F7F7F"/>
                </a:solidFill>
                <a:latin typeface="Source Sans Pro" panose="020B0503030403020204" pitchFamily="34" charset="0"/>
                <a:ea typeface="Source Sans Pro" panose="020B0503030403020204" pitchFamily="34" charset="0"/>
                <a:cs typeface="Arial" pitchFamily="34" charset="0"/>
              </a:rPr>
              <a:t>Metadata</a:t>
            </a:r>
            <a:r>
              <a:rPr lang="es-PE" sz="2000" b="1" dirty="0">
                <a:solidFill>
                  <a:srgbClr val="7F7F7F"/>
                </a:solidFill>
                <a:latin typeface="Source Sans Pro" panose="020B0503030403020204" pitchFamily="34" charset="0"/>
                <a:ea typeface="Source Sans Pro" panose="020B0503030403020204" pitchFamily="34" charset="0"/>
                <a:cs typeface="Arial" pitchFamily="34" charset="0"/>
              </a:rPr>
              <a:t> Analítica (Unity </a:t>
            </a:r>
            <a:r>
              <a:rPr lang="es-PE" sz="2000" b="1" dirty="0" err="1">
                <a:solidFill>
                  <a:srgbClr val="7F7F7F"/>
                </a:solidFill>
                <a:latin typeface="Source Sans Pro" panose="020B0503030403020204" pitchFamily="34" charset="0"/>
                <a:ea typeface="Source Sans Pro" panose="020B0503030403020204" pitchFamily="34" charset="0"/>
                <a:cs typeface="Arial" pitchFamily="34" charset="0"/>
              </a:rPr>
              <a:t>Catalog</a:t>
            </a:r>
            <a:r>
              <a:rPr lang="es-PE" sz="2000" b="1" dirty="0">
                <a:solidFill>
                  <a:srgbClr val="7F7F7F"/>
                </a:solidFill>
                <a:latin typeface="Source Sans Pro" panose="020B0503030403020204" pitchFamily="34" charset="0"/>
                <a:ea typeface="Source Sans Pro" panose="020B0503030403020204" pitchFamily="34" charset="0"/>
                <a:cs typeface="Arial" pitchFamily="34" charset="0"/>
              </a:rPr>
              <a:t>)</a:t>
            </a:r>
          </a:p>
          <a:p>
            <a:pPr marL="399415" indent="-399415" defTabSz="1219170" fontAlgn="base">
              <a:lnSpc>
                <a:spcPct val="150000"/>
              </a:lnSpc>
              <a:spcBef>
                <a:spcPct val="0"/>
              </a:spcBef>
              <a:spcAft>
                <a:spcPct val="0"/>
              </a:spcAft>
              <a:buClr>
                <a:srgbClr val="3DAFAF"/>
              </a:buClr>
              <a:buFont typeface="+mj-lt"/>
              <a:buAutoNum type="romanLcPeriod"/>
            </a:pPr>
            <a:r>
              <a:rPr lang="es-PE" sz="2000" b="1" dirty="0">
                <a:solidFill>
                  <a:srgbClr val="7F7F7F"/>
                </a:solidFill>
                <a:latin typeface="Source Sans Pro" panose="020B0503030403020204" pitchFamily="34" charset="0"/>
                <a:ea typeface="Source Sans Pro" panose="020B0503030403020204" pitchFamily="34" charset="0"/>
                <a:cs typeface="Arial" pitchFamily="34" charset="0"/>
              </a:rPr>
              <a:t>Calidad del Dato</a:t>
            </a:r>
          </a:p>
          <a:p>
            <a:pPr marL="399415" indent="-399415" defTabSz="1219170" fontAlgn="base">
              <a:lnSpc>
                <a:spcPct val="150000"/>
              </a:lnSpc>
              <a:spcBef>
                <a:spcPct val="0"/>
              </a:spcBef>
              <a:spcAft>
                <a:spcPct val="0"/>
              </a:spcAft>
              <a:buClr>
                <a:srgbClr val="3DAFAF"/>
              </a:buClr>
              <a:buFont typeface="+mj-lt"/>
              <a:buAutoNum type="romanLcPeriod"/>
            </a:pPr>
            <a:r>
              <a:rPr lang="es-PE" sz="2000" b="1" dirty="0">
                <a:solidFill>
                  <a:srgbClr val="7F7F7F"/>
                </a:solidFill>
                <a:latin typeface="Source Sans Pro" panose="020B0503030403020204" pitchFamily="34" charset="0"/>
                <a:ea typeface="Source Sans Pro" panose="020B0503030403020204" pitchFamily="34" charset="0"/>
                <a:cs typeface="Arial" pitchFamily="34" charset="0"/>
              </a:rPr>
              <a:t>Seguridad del Dato</a:t>
            </a:r>
          </a:p>
          <a:p>
            <a:pPr marL="399415" indent="-399415" defTabSz="1219170" fontAlgn="base">
              <a:lnSpc>
                <a:spcPct val="150000"/>
              </a:lnSpc>
              <a:spcBef>
                <a:spcPct val="0"/>
              </a:spcBef>
              <a:spcAft>
                <a:spcPct val="0"/>
              </a:spcAft>
              <a:buClr>
                <a:srgbClr val="3DAFAF"/>
              </a:buClr>
              <a:buFont typeface="+mj-lt"/>
              <a:buAutoNum type="romanLcPeriod"/>
            </a:pPr>
            <a:r>
              <a:rPr lang="es-PE" sz="2000" b="1" dirty="0">
                <a:solidFill>
                  <a:srgbClr val="7F7F7F"/>
                </a:solidFill>
                <a:latin typeface="Source Sans Pro" panose="020B0503030403020204" pitchFamily="34" charset="0"/>
                <a:ea typeface="Source Sans Pro" panose="020B0503030403020204" pitchFamily="34" charset="0"/>
                <a:cs typeface="Arial" pitchFamily="34" charset="0"/>
              </a:rPr>
              <a:t> </a:t>
            </a:r>
            <a:r>
              <a:rPr lang="es-PE" sz="2000" b="1" dirty="0" err="1">
                <a:solidFill>
                  <a:srgbClr val="7F7F7F"/>
                </a:solidFill>
                <a:latin typeface="Source Sans Pro" panose="020B0503030403020204" pitchFamily="34" charset="0"/>
                <a:ea typeface="Source Sans Pro" panose="020B0503030403020204" pitchFamily="34" charset="0"/>
                <a:cs typeface="Arial" pitchFamily="34" charset="0"/>
              </a:rPr>
              <a:t>Checklist</a:t>
            </a:r>
            <a:r>
              <a:rPr lang="es-PE" sz="2000" b="1" dirty="0">
                <a:solidFill>
                  <a:srgbClr val="7F7F7F"/>
                </a:solidFill>
                <a:latin typeface="Source Sans Pro" panose="020B0503030403020204" pitchFamily="34" charset="0"/>
                <a:ea typeface="Source Sans Pro" panose="020B0503030403020204" pitchFamily="34" charset="0"/>
                <a:cs typeface="Arial" pitchFamily="34" charset="0"/>
              </a:rPr>
              <a:t> de Gobierno del Dato</a:t>
            </a:r>
          </a:p>
          <a:p>
            <a:pPr marL="399415" indent="-399415" defTabSz="1219170" fontAlgn="base">
              <a:lnSpc>
                <a:spcPct val="150000"/>
              </a:lnSpc>
              <a:spcBef>
                <a:spcPct val="0"/>
              </a:spcBef>
              <a:spcAft>
                <a:spcPct val="0"/>
              </a:spcAft>
              <a:buClr>
                <a:srgbClr val="3DAFAF"/>
              </a:buClr>
              <a:buFont typeface="+mj-lt"/>
              <a:buAutoNum type="romanLcPeriod"/>
            </a:pPr>
            <a:r>
              <a:rPr lang="es-PE" sz="2000" b="1" dirty="0" err="1">
                <a:solidFill>
                  <a:srgbClr val="7F7F7F"/>
                </a:solidFill>
                <a:latin typeface="Source Sans Pro" panose="020B0503030403020204" pitchFamily="34" charset="0"/>
                <a:ea typeface="Source Sans Pro" panose="020B0503030403020204" pitchFamily="34" charset="0"/>
                <a:cs typeface="Arial" pitchFamily="34" charset="0"/>
              </a:rPr>
              <a:t>Checklist</a:t>
            </a:r>
            <a:r>
              <a:rPr lang="es-PE" sz="2000" b="1" dirty="0">
                <a:solidFill>
                  <a:srgbClr val="7F7F7F"/>
                </a:solidFill>
                <a:latin typeface="Source Sans Pro" panose="020B0503030403020204" pitchFamily="34" charset="0"/>
                <a:ea typeface="Source Sans Pro" panose="020B0503030403020204" pitchFamily="34" charset="0"/>
                <a:cs typeface="Arial" pitchFamily="34" charset="0"/>
              </a:rPr>
              <a:t> de Gobierno TI</a:t>
            </a:r>
          </a:p>
          <a:p>
            <a:pPr defTabSz="1219170" fontAlgn="base">
              <a:lnSpc>
                <a:spcPct val="150000"/>
              </a:lnSpc>
              <a:spcBef>
                <a:spcPct val="0"/>
              </a:spcBef>
              <a:spcAft>
                <a:spcPct val="0"/>
              </a:spcAft>
              <a:buClr>
                <a:srgbClr val="3DAFAF"/>
              </a:buClr>
            </a:pPr>
            <a:endParaRPr lang="es-PE" sz="2000" b="1" dirty="0">
              <a:solidFill>
                <a:srgbClr val="7F7F7F"/>
              </a:solidFill>
              <a:latin typeface="Source Sans Pro" panose="020B0503030403020204" pitchFamily="34" charset="0"/>
              <a:ea typeface="Source Sans Pro" panose="020B0503030403020204" pitchFamily="34" charset="0"/>
              <a:cs typeface="Arial" pitchFamily="34" charset="0"/>
            </a:endParaRPr>
          </a:p>
        </p:txBody>
      </p:sp>
      <p:pic>
        <p:nvPicPr>
          <p:cNvPr id="2" name="Imagen 1" descr="Imagen que contiene Logotipo&#10;&#10;Descripción generada automáticamente">
            <a:extLst>
              <a:ext uri="{FF2B5EF4-FFF2-40B4-BE49-F238E27FC236}">
                <a16:creationId xmlns:a16="http://schemas.microsoft.com/office/drawing/2014/main" id="{29C7DA2B-C248-9234-647C-BAEF102AD78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10800000">
            <a:off x="5081070" y="5797825"/>
            <a:ext cx="7110930" cy="1060175"/>
          </a:xfrm>
          <a:prstGeom prst="rect">
            <a:avLst/>
          </a:prstGeom>
        </p:spPr>
      </p:pic>
    </p:spTree>
    <p:extLst>
      <p:ext uri="{BB962C8B-B14F-4D97-AF65-F5344CB8AC3E}">
        <p14:creationId xmlns:p14="http://schemas.microsoft.com/office/powerpoint/2010/main" val="3800211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884BAE-7977-8058-9247-EDB398345448}"/>
            </a:ext>
          </a:extLst>
        </p:cNvPr>
        <p:cNvGrpSpPr/>
        <p:nvPr/>
      </p:nvGrpSpPr>
      <p:grpSpPr>
        <a:xfrm>
          <a:off x="0" y="0"/>
          <a:ext cx="0" cy="0"/>
          <a:chOff x="0" y="0"/>
          <a:chExt cx="0" cy="0"/>
        </a:xfrm>
      </p:grpSpPr>
      <p:sp>
        <p:nvSpPr>
          <p:cNvPr id="2" name="Rectángulo 1">
            <a:extLst>
              <a:ext uri="{FF2B5EF4-FFF2-40B4-BE49-F238E27FC236}">
                <a16:creationId xmlns:a16="http://schemas.microsoft.com/office/drawing/2014/main" id="{47CD85A7-271F-9994-A5D6-45713EC8D935}"/>
              </a:ext>
            </a:extLst>
          </p:cNvPr>
          <p:cNvSpPr/>
          <p:nvPr/>
        </p:nvSpPr>
        <p:spPr>
          <a:xfrm>
            <a:off x="-1" y="-1"/>
            <a:ext cx="12192001" cy="6858001"/>
          </a:xfrm>
          <a:prstGeom prst="rect">
            <a:avLst/>
          </a:prstGeom>
          <a:noFill/>
        </p:spPr>
        <p:txBody>
          <a:bodyPr wrap="none" rtlCol="0">
            <a:spAutoFit/>
          </a:bodyPr>
          <a:lstStyle/>
          <a:p>
            <a:pPr algn="ctr"/>
            <a:endParaRPr lang="es-PE" sz="4000" b="1">
              <a:solidFill>
                <a:srgbClr val="3FA7A7"/>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Imagen 3" descr="Imagen que contiene Logotipo&#10;&#10;Descripción generada automáticamente">
            <a:extLst>
              <a:ext uri="{FF2B5EF4-FFF2-40B4-BE49-F238E27FC236}">
                <a16:creationId xmlns:a16="http://schemas.microsoft.com/office/drawing/2014/main" id="{125F456C-48F4-4BB9-F6EE-1777EA273F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042" y="-32085"/>
            <a:ext cx="7110930" cy="1060175"/>
          </a:xfrm>
          <a:prstGeom prst="rect">
            <a:avLst/>
          </a:prstGeom>
        </p:spPr>
      </p:pic>
      <p:pic>
        <p:nvPicPr>
          <p:cNvPr id="5" name="Imagen 4" descr="Logotipo&#10;&#10;Descripción generada automáticamente">
            <a:extLst>
              <a:ext uri="{FF2B5EF4-FFF2-40B4-BE49-F238E27FC236}">
                <a16:creationId xmlns:a16="http://schemas.microsoft.com/office/drawing/2014/main" id="{DE8A19F2-A6BB-8651-F7A3-AA07C430917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63003" y="289448"/>
            <a:ext cx="1905000" cy="698500"/>
          </a:xfrm>
          <a:prstGeom prst="rect">
            <a:avLst/>
          </a:prstGeom>
        </p:spPr>
      </p:pic>
      <p:sp>
        <p:nvSpPr>
          <p:cNvPr id="3" name="CuadroTexto 2">
            <a:extLst>
              <a:ext uri="{FF2B5EF4-FFF2-40B4-BE49-F238E27FC236}">
                <a16:creationId xmlns:a16="http://schemas.microsoft.com/office/drawing/2014/main" id="{34F8B3EC-7718-B0E9-001C-348522AF6244}"/>
              </a:ext>
            </a:extLst>
          </p:cNvPr>
          <p:cNvSpPr txBox="1"/>
          <p:nvPr/>
        </p:nvSpPr>
        <p:spPr>
          <a:xfrm>
            <a:off x="836088" y="943054"/>
            <a:ext cx="8513379" cy="584775"/>
          </a:xfrm>
          <a:prstGeom prst="rect">
            <a:avLst/>
          </a:prstGeom>
          <a:noFill/>
        </p:spPr>
        <p:txBody>
          <a:bodyPr wrap="square" rtlCol="0">
            <a:spAutoFit/>
          </a:bodyPr>
          <a:lstStyle/>
          <a:p>
            <a:r>
              <a:rPr lang="es-ES" sz="3200" b="1" dirty="0" err="1">
                <a:solidFill>
                  <a:srgbClr val="3FA7A7"/>
                </a:solidFill>
                <a:latin typeface="Source Sans Pro" panose="020B0503030403020204" pitchFamily="34" charset="0"/>
                <a:ea typeface="Source Sans Pro" panose="020B0503030403020204" pitchFamily="34" charset="0"/>
                <a:cs typeface="Open Sans"/>
              </a:rPr>
              <a:t>Checklist</a:t>
            </a:r>
            <a:r>
              <a:rPr lang="es-ES" sz="3200" b="1" dirty="0">
                <a:solidFill>
                  <a:srgbClr val="3FA7A7"/>
                </a:solidFill>
                <a:latin typeface="Source Sans Pro" panose="020B0503030403020204" pitchFamily="34" charset="0"/>
                <a:ea typeface="Source Sans Pro" panose="020B0503030403020204" pitchFamily="34" charset="0"/>
                <a:cs typeface="Open Sans"/>
              </a:rPr>
              <a:t> de Gobierno del Dato</a:t>
            </a:r>
            <a:endParaRPr lang="es-PE" sz="3200" b="1" dirty="0">
              <a:solidFill>
                <a:srgbClr val="3FA7A7"/>
              </a:solidFill>
              <a:latin typeface="Source Sans Pro" panose="020B0503030403020204" pitchFamily="34" charset="0"/>
              <a:ea typeface="Source Sans Pro" panose="020B0503030403020204" pitchFamily="34" charset="0"/>
              <a:cs typeface="Open Sans"/>
            </a:endParaRPr>
          </a:p>
        </p:txBody>
      </p:sp>
      <p:graphicFrame>
        <p:nvGraphicFramePr>
          <p:cNvPr id="6" name="Diagrama 5">
            <a:extLst>
              <a:ext uri="{FF2B5EF4-FFF2-40B4-BE49-F238E27FC236}">
                <a16:creationId xmlns:a16="http://schemas.microsoft.com/office/drawing/2014/main" id="{D399AE70-CFD3-656B-F80C-689C89EC8A71}"/>
              </a:ext>
            </a:extLst>
          </p:cNvPr>
          <p:cNvGraphicFramePr/>
          <p:nvPr>
            <p:extLst>
              <p:ext uri="{D42A27DB-BD31-4B8C-83A1-F6EECF244321}">
                <p14:modId xmlns:p14="http://schemas.microsoft.com/office/powerpoint/2010/main" val="3338998081"/>
              </p:ext>
            </p:extLst>
          </p:nvPr>
        </p:nvGraphicFramePr>
        <p:xfrm>
          <a:off x="567558" y="1689441"/>
          <a:ext cx="11136762" cy="306543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7" name="CuadroTexto 6">
            <a:extLst>
              <a:ext uri="{FF2B5EF4-FFF2-40B4-BE49-F238E27FC236}">
                <a16:creationId xmlns:a16="http://schemas.microsoft.com/office/drawing/2014/main" id="{C2BA1E3F-47C1-7901-EB62-FB7E8D580EC4}"/>
              </a:ext>
            </a:extLst>
          </p:cNvPr>
          <p:cNvSpPr txBox="1"/>
          <p:nvPr/>
        </p:nvSpPr>
        <p:spPr>
          <a:xfrm>
            <a:off x="567558" y="4684730"/>
            <a:ext cx="1951707" cy="1477328"/>
          </a:xfrm>
          <a:prstGeom prst="rect">
            <a:avLst/>
          </a:prstGeom>
          <a:noFill/>
        </p:spPr>
        <p:txBody>
          <a:bodyPr wrap="square" rtlCol="0">
            <a:spAutoFit/>
          </a:bodyPr>
          <a:lstStyle/>
          <a:p>
            <a:pPr algn="ctr"/>
            <a:r>
              <a:rPr lang="es-PE" sz="1500" dirty="0"/>
              <a:t>Declara de forma inicial los orígenes de los datos y especifica hacia dónde se dirigirán (prelanding)</a:t>
            </a:r>
          </a:p>
        </p:txBody>
      </p:sp>
      <p:sp>
        <p:nvSpPr>
          <p:cNvPr id="8" name="CuadroTexto 7">
            <a:extLst>
              <a:ext uri="{FF2B5EF4-FFF2-40B4-BE49-F238E27FC236}">
                <a16:creationId xmlns:a16="http://schemas.microsoft.com/office/drawing/2014/main" id="{59062DF3-D3FC-BCCA-928C-1D004F4297FD}"/>
              </a:ext>
            </a:extLst>
          </p:cNvPr>
          <p:cNvSpPr txBox="1"/>
          <p:nvPr/>
        </p:nvSpPr>
        <p:spPr>
          <a:xfrm>
            <a:off x="2872539" y="4684730"/>
            <a:ext cx="1951708" cy="1477328"/>
          </a:xfrm>
          <a:prstGeom prst="rect">
            <a:avLst/>
          </a:prstGeom>
          <a:noFill/>
        </p:spPr>
        <p:txBody>
          <a:bodyPr wrap="square" rtlCol="0">
            <a:spAutoFit/>
          </a:bodyPr>
          <a:lstStyle/>
          <a:p>
            <a:pPr algn="ctr"/>
            <a:r>
              <a:rPr lang="es-PE" sz="1500" dirty="0"/>
              <a:t>Sirve como declaratoria para que los Ing./Arq. de Datos realicen los ADF, Workflows y Jobs.</a:t>
            </a:r>
          </a:p>
        </p:txBody>
      </p:sp>
      <p:sp>
        <p:nvSpPr>
          <p:cNvPr id="9" name="CuadroTexto 8">
            <a:extLst>
              <a:ext uri="{FF2B5EF4-FFF2-40B4-BE49-F238E27FC236}">
                <a16:creationId xmlns:a16="http://schemas.microsoft.com/office/drawing/2014/main" id="{EF3B9571-5C7C-FD7A-90FC-E1A99F6A4661}"/>
              </a:ext>
            </a:extLst>
          </p:cNvPr>
          <p:cNvSpPr txBox="1"/>
          <p:nvPr/>
        </p:nvSpPr>
        <p:spPr>
          <a:xfrm>
            <a:off x="5118516" y="4684730"/>
            <a:ext cx="1951709" cy="784830"/>
          </a:xfrm>
          <a:prstGeom prst="rect">
            <a:avLst/>
          </a:prstGeom>
          <a:noFill/>
        </p:spPr>
        <p:txBody>
          <a:bodyPr wrap="square" rtlCol="0">
            <a:spAutoFit/>
          </a:bodyPr>
          <a:lstStyle/>
          <a:p>
            <a:pPr algn="ctr"/>
            <a:r>
              <a:rPr lang="es-PE" sz="1500" dirty="0"/>
              <a:t>Declaratoria de definición de las tablas</a:t>
            </a:r>
          </a:p>
        </p:txBody>
      </p:sp>
      <p:sp>
        <p:nvSpPr>
          <p:cNvPr id="10" name="CuadroTexto 9">
            <a:extLst>
              <a:ext uri="{FF2B5EF4-FFF2-40B4-BE49-F238E27FC236}">
                <a16:creationId xmlns:a16="http://schemas.microsoft.com/office/drawing/2014/main" id="{F3C5B6A7-7FEC-6B5F-29BF-B85DA24030F7}"/>
              </a:ext>
            </a:extLst>
          </p:cNvPr>
          <p:cNvSpPr txBox="1"/>
          <p:nvPr/>
        </p:nvSpPr>
        <p:spPr>
          <a:xfrm>
            <a:off x="7397759" y="4684730"/>
            <a:ext cx="1951708" cy="1246495"/>
          </a:xfrm>
          <a:prstGeom prst="rect">
            <a:avLst/>
          </a:prstGeom>
          <a:noFill/>
        </p:spPr>
        <p:txBody>
          <a:bodyPr wrap="square" rtlCol="0">
            <a:spAutoFit/>
          </a:bodyPr>
          <a:lstStyle/>
          <a:p>
            <a:pPr algn="ctr"/>
            <a:r>
              <a:rPr lang="es-PE" sz="1500" dirty="0"/>
              <a:t>Se toman los lineamientos de calidad para aplicarlos en el proyecto</a:t>
            </a:r>
          </a:p>
        </p:txBody>
      </p:sp>
      <p:sp>
        <p:nvSpPr>
          <p:cNvPr id="11" name="CuadroTexto 10">
            <a:extLst>
              <a:ext uri="{FF2B5EF4-FFF2-40B4-BE49-F238E27FC236}">
                <a16:creationId xmlns:a16="http://schemas.microsoft.com/office/drawing/2014/main" id="{1B6E7762-332D-D607-0BD7-FFBF395E0A9C}"/>
              </a:ext>
            </a:extLst>
          </p:cNvPr>
          <p:cNvSpPr txBox="1"/>
          <p:nvPr/>
        </p:nvSpPr>
        <p:spPr>
          <a:xfrm>
            <a:off x="9732420" y="4660727"/>
            <a:ext cx="1971900" cy="1015663"/>
          </a:xfrm>
          <a:prstGeom prst="rect">
            <a:avLst/>
          </a:prstGeom>
          <a:noFill/>
        </p:spPr>
        <p:txBody>
          <a:bodyPr wrap="square" rtlCol="0">
            <a:spAutoFit/>
          </a:bodyPr>
          <a:lstStyle/>
          <a:p>
            <a:pPr algn="ctr"/>
            <a:r>
              <a:rPr lang="es-PE" sz="1500" dirty="0"/>
              <a:t>Definir de acuerdo a los roles quiénes van a tener accesos al Unity Catalog</a:t>
            </a:r>
          </a:p>
        </p:txBody>
      </p:sp>
      <p:pic>
        <p:nvPicPr>
          <p:cNvPr id="12" name="Imagen 11" descr="Imagen que contiene Logotipo&#10;&#10;Descripción generada automáticamente">
            <a:extLst>
              <a:ext uri="{FF2B5EF4-FFF2-40B4-BE49-F238E27FC236}">
                <a16:creationId xmlns:a16="http://schemas.microsoft.com/office/drawing/2014/main" id="{43692999-D635-25BB-3E56-FED5D78591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800000">
            <a:off x="5081070" y="5797825"/>
            <a:ext cx="7110930" cy="1060175"/>
          </a:xfrm>
          <a:prstGeom prst="rect">
            <a:avLst/>
          </a:prstGeom>
        </p:spPr>
      </p:pic>
    </p:spTree>
    <p:extLst>
      <p:ext uri="{BB962C8B-B14F-4D97-AF65-F5344CB8AC3E}">
        <p14:creationId xmlns:p14="http://schemas.microsoft.com/office/powerpoint/2010/main" val="39508584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D57346-2796-07CB-212F-7A84807628CD}"/>
            </a:ext>
          </a:extLst>
        </p:cNvPr>
        <p:cNvGrpSpPr/>
        <p:nvPr/>
      </p:nvGrpSpPr>
      <p:grpSpPr>
        <a:xfrm>
          <a:off x="0" y="0"/>
          <a:ext cx="0" cy="0"/>
          <a:chOff x="0" y="0"/>
          <a:chExt cx="0" cy="0"/>
        </a:xfrm>
      </p:grpSpPr>
      <p:sp>
        <p:nvSpPr>
          <p:cNvPr id="2" name="Rectángulo 1">
            <a:extLst>
              <a:ext uri="{FF2B5EF4-FFF2-40B4-BE49-F238E27FC236}">
                <a16:creationId xmlns:a16="http://schemas.microsoft.com/office/drawing/2014/main" id="{07C2BDD7-F210-72D0-E548-BB21FEF0ECDD}"/>
              </a:ext>
            </a:extLst>
          </p:cNvPr>
          <p:cNvSpPr/>
          <p:nvPr/>
        </p:nvSpPr>
        <p:spPr>
          <a:xfrm>
            <a:off x="-1" y="-1"/>
            <a:ext cx="12192001" cy="6858001"/>
          </a:xfrm>
          <a:prstGeom prst="rect">
            <a:avLst/>
          </a:prstGeom>
          <a:noFill/>
        </p:spPr>
        <p:txBody>
          <a:bodyPr wrap="none" rtlCol="0">
            <a:spAutoFit/>
          </a:bodyPr>
          <a:lstStyle/>
          <a:p>
            <a:pPr algn="ctr"/>
            <a:endParaRPr lang="es-PE" sz="4000" b="1">
              <a:solidFill>
                <a:srgbClr val="3FA7A7"/>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Imagen 3" descr="Imagen que contiene Logotipo&#10;&#10;Descripción generada automáticamente">
            <a:extLst>
              <a:ext uri="{FF2B5EF4-FFF2-40B4-BE49-F238E27FC236}">
                <a16:creationId xmlns:a16="http://schemas.microsoft.com/office/drawing/2014/main" id="{F778FED3-B399-9386-6B62-74D3AF7101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042" y="-32085"/>
            <a:ext cx="7110930" cy="1060175"/>
          </a:xfrm>
          <a:prstGeom prst="rect">
            <a:avLst/>
          </a:prstGeom>
        </p:spPr>
      </p:pic>
      <p:pic>
        <p:nvPicPr>
          <p:cNvPr id="5" name="Imagen 4" descr="Logotipo&#10;&#10;Descripción generada automáticamente">
            <a:extLst>
              <a:ext uri="{FF2B5EF4-FFF2-40B4-BE49-F238E27FC236}">
                <a16:creationId xmlns:a16="http://schemas.microsoft.com/office/drawing/2014/main" id="{D5DABDB7-0720-2B62-4DE3-ED009FFA47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63003" y="289448"/>
            <a:ext cx="1905000" cy="698500"/>
          </a:xfrm>
          <a:prstGeom prst="rect">
            <a:avLst/>
          </a:prstGeom>
        </p:spPr>
      </p:pic>
      <p:graphicFrame>
        <p:nvGraphicFramePr>
          <p:cNvPr id="6" name="Diagrama 5">
            <a:extLst>
              <a:ext uri="{FF2B5EF4-FFF2-40B4-BE49-F238E27FC236}">
                <a16:creationId xmlns:a16="http://schemas.microsoft.com/office/drawing/2014/main" id="{591C74E6-9765-7282-9FBD-7834229FEFC6}"/>
              </a:ext>
            </a:extLst>
          </p:cNvPr>
          <p:cNvGraphicFramePr/>
          <p:nvPr>
            <p:extLst>
              <p:ext uri="{D42A27DB-BD31-4B8C-83A1-F6EECF244321}">
                <p14:modId xmlns:p14="http://schemas.microsoft.com/office/powerpoint/2010/main" val="1715381358"/>
              </p:ext>
            </p:extLst>
          </p:nvPr>
        </p:nvGraphicFramePr>
        <p:xfrm>
          <a:off x="567558" y="1931932"/>
          <a:ext cx="11136762" cy="260274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1" name="CuadroTexto 10">
            <a:extLst>
              <a:ext uri="{FF2B5EF4-FFF2-40B4-BE49-F238E27FC236}">
                <a16:creationId xmlns:a16="http://schemas.microsoft.com/office/drawing/2014/main" id="{64951629-7F35-54CE-5B36-11E57FB3F072}"/>
              </a:ext>
            </a:extLst>
          </p:cNvPr>
          <p:cNvSpPr txBox="1"/>
          <p:nvPr/>
        </p:nvSpPr>
        <p:spPr>
          <a:xfrm>
            <a:off x="5118516" y="4684730"/>
            <a:ext cx="2122039" cy="1477328"/>
          </a:xfrm>
          <a:prstGeom prst="rect">
            <a:avLst/>
          </a:prstGeom>
          <a:noFill/>
        </p:spPr>
        <p:txBody>
          <a:bodyPr wrap="square" rtlCol="0">
            <a:spAutoFit/>
          </a:bodyPr>
          <a:lstStyle/>
          <a:p>
            <a:pPr algn="ctr"/>
            <a:r>
              <a:rPr lang="es-PE" sz="1500" dirty="0"/>
              <a:t>Crear dominio de gobierno, producto de datos, cómo escanear los recursos, etc. (Purview)</a:t>
            </a:r>
          </a:p>
        </p:txBody>
      </p:sp>
      <p:sp>
        <p:nvSpPr>
          <p:cNvPr id="12" name="CuadroTexto 11">
            <a:extLst>
              <a:ext uri="{FF2B5EF4-FFF2-40B4-BE49-F238E27FC236}">
                <a16:creationId xmlns:a16="http://schemas.microsoft.com/office/drawing/2014/main" id="{06F15F0B-6586-B076-1956-318413B56F7E}"/>
              </a:ext>
            </a:extLst>
          </p:cNvPr>
          <p:cNvSpPr txBox="1"/>
          <p:nvPr/>
        </p:nvSpPr>
        <p:spPr>
          <a:xfrm>
            <a:off x="1002273" y="943602"/>
            <a:ext cx="8513379" cy="584775"/>
          </a:xfrm>
          <a:prstGeom prst="rect">
            <a:avLst/>
          </a:prstGeom>
          <a:noFill/>
        </p:spPr>
        <p:txBody>
          <a:bodyPr wrap="square" rtlCol="0">
            <a:spAutoFit/>
          </a:bodyPr>
          <a:lstStyle/>
          <a:p>
            <a:r>
              <a:rPr lang="es-ES" sz="3200" b="1" dirty="0" err="1">
                <a:solidFill>
                  <a:srgbClr val="3FA7A7"/>
                </a:solidFill>
                <a:latin typeface="Source Sans Pro" panose="020B0503030403020204" pitchFamily="34" charset="0"/>
                <a:ea typeface="Source Sans Pro" panose="020B0503030403020204" pitchFamily="34" charset="0"/>
                <a:cs typeface="Open Sans"/>
              </a:rPr>
              <a:t>Checklist</a:t>
            </a:r>
            <a:r>
              <a:rPr lang="es-ES" sz="3200" b="1" dirty="0">
                <a:solidFill>
                  <a:srgbClr val="3FA7A7"/>
                </a:solidFill>
                <a:latin typeface="Source Sans Pro" panose="020B0503030403020204" pitchFamily="34" charset="0"/>
                <a:ea typeface="Source Sans Pro" panose="020B0503030403020204" pitchFamily="34" charset="0"/>
                <a:cs typeface="Open Sans"/>
              </a:rPr>
              <a:t> de Gobierno del Dato</a:t>
            </a:r>
            <a:endParaRPr lang="es-PE" sz="3200" b="1" dirty="0">
              <a:solidFill>
                <a:srgbClr val="3FA7A7"/>
              </a:solidFill>
              <a:latin typeface="Source Sans Pro" panose="020B0503030403020204" pitchFamily="34" charset="0"/>
              <a:ea typeface="Source Sans Pro" panose="020B0503030403020204" pitchFamily="34" charset="0"/>
              <a:cs typeface="Open Sans"/>
            </a:endParaRPr>
          </a:p>
        </p:txBody>
      </p:sp>
      <p:pic>
        <p:nvPicPr>
          <p:cNvPr id="3" name="Imagen 2" descr="Imagen que contiene Logotipo&#10;&#10;Descripción generada automáticamente">
            <a:extLst>
              <a:ext uri="{FF2B5EF4-FFF2-40B4-BE49-F238E27FC236}">
                <a16:creationId xmlns:a16="http://schemas.microsoft.com/office/drawing/2014/main" id="{FC0A3C8B-893A-4F15-CA81-99CF633845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800000">
            <a:off x="5081070" y="5797825"/>
            <a:ext cx="7110930" cy="1060175"/>
          </a:xfrm>
          <a:prstGeom prst="rect">
            <a:avLst/>
          </a:prstGeom>
        </p:spPr>
      </p:pic>
    </p:spTree>
    <p:extLst>
      <p:ext uri="{BB962C8B-B14F-4D97-AF65-F5344CB8AC3E}">
        <p14:creationId xmlns:p14="http://schemas.microsoft.com/office/powerpoint/2010/main" val="6434509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A63568-6C2F-561A-B388-328614F41AD3}"/>
            </a:ext>
          </a:extLst>
        </p:cNvPr>
        <p:cNvGrpSpPr/>
        <p:nvPr/>
      </p:nvGrpSpPr>
      <p:grpSpPr>
        <a:xfrm>
          <a:off x="0" y="0"/>
          <a:ext cx="0" cy="0"/>
          <a:chOff x="0" y="0"/>
          <a:chExt cx="0" cy="0"/>
        </a:xfrm>
      </p:grpSpPr>
      <p:sp>
        <p:nvSpPr>
          <p:cNvPr id="51" name="Freeform 58">
            <a:extLst>
              <a:ext uri="{FF2B5EF4-FFF2-40B4-BE49-F238E27FC236}">
                <a16:creationId xmlns:a16="http://schemas.microsoft.com/office/drawing/2014/main" id="{545C0E4B-0147-7F1C-D36F-8DF56867E3E3}"/>
              </a:ext>
            </a:extLst>
          </p:cNvPr>
          <p:cNvSpPr/>
          <p:nvPr/>
        </p:nvSpPr>
        <p:spPr>
          <a:xfrm>
            <a:off x="142524" y="2831092"/>
            <a:ext cx="11107096" cy="3907602"/>
          </a:xfrm>
          <a:custGeom>
            <a:avLst/>
            <a:gdLst>
              <a:gd name="connsiteX0" fmla="*/ 1944119 w 17121314"/>
              <a:gd name="connsiteY0" fmla="*/ 6557272 h 6923032"/>
              <a:gd name="connsiteX1" fmla="*/ 14928599 w 17121314"/>
              <a:gd name="connsiteY1" fmla="*/ 6557272 h 6923032"/>
              <a:gd name="connsiteX2" fmla="*/ 14928599 w 17121314"/>
              <a:gd name="connsiteY2" fmla="*/ 6923032 h 6923032"/>
              <a:gd name="connsiteX3" fmla="*/ 1944119 w 17121314"/>
              <a:gd name="connsiteY3" fmla="*/ 6923032 h 6923032"/>
              <a:gd name="connsiteX4" fmla="*/ 794000 w 17121314"/>
              <a:gd name="connsiteY4" fmla="*/ 0 h 6923032"/>
              <a:gd name="connsiteX5" fmla="*/ 15332959 w 17121314"/>
              <a:gd name="connsiteY5" fmla="*/ 0 h 6923032"/>
              <a:gd name="connsiteX6" fmla="*/ 15332959 w 17121314"/>
              <a:gd name="connsiteY6" fmla="*/ 330 h 6923032"/>
              <a:gd name="connsiteX7" fmla="*/ 15442083 w 17121314"/>
              <a:gd name="connsiteY7" fmla="*/ 3634 h 6923032"/>
              <a:gd name="connsiteX8" fmla="*/ 16879835 w 17121314"/>
              <a:gd name="connsiteY8" fmla="*/ 896431 h 6923032"/>
              <a:gd name="connsiteX9" fmla="*/ 16883045 w 17121314"/>
              <a:gd name="connsiteY9" fmla="*/ 2692091 h 6923032"/>
              <a:gd name="connsiteX10" fmla="*/ 15448511 w 17121314"/>
              <a:gd name="connsiteY10" fmla="*/ 3590042 h 6923032"/>
              <a:gd name="connsiteX11" fmla="*/ 15361463 w 17121314"/>
              <a:gd name="connsiteY11" fmla="*/ 3592991 h 6923032"/>
              <a:gd name="connsiteX12" fmla="*/ 15361463 w 17121314"/>
              <a:gd name="connsiteY12" fmla="*/ 3594097 h 6923032"/>
              <a:gd name="connsiteX13" fmla="*/ 15328811 w 17121314"/>
              <a:gd name="connsiteY13" fmla="*/ 3594097 h 6923032"/>
              <a:gd name="connsiteX14" fmla="*/ 15328797 w 17121314"/>
              <a:gd name="connsiteY14" fmla="*/ 3594098 h 6923032"/>
              <a:gd name="connsiteX15" fmla="*/ 15328797 w 17121314"/>
              <a:gd name="connsiteY15" fmla="*/ 3594097 h 6923032"/>
              <a:gd name="connsiteX16" fmla="*/ 1861285 w 17121314"/>
              <a:gd name="connsiteY16" fmla="*/ 3594097 h 6923032"/>
              <a:gd name="connsiteX17" fmla="*/ 1673544 w 17121314"/>
              <a:gd name="connsiteY17" fmla="*/ 3603608 h 6923032"/>
              <a:gd name="connsiteX18" fmla="*/ 571649 w 17121314"/>
              <a:gd name="connsiteY18" fmla="*/ 4320878 h 6923032"/>
              <a:gd name="connsiteX19" fmla="*/ 559719 w 17121314"/>
              <a:gd name="connsiteY19" fmla="*/ 5809956 h 6923032"/>
              <a:gd name="connsiteX20" fmla="*/ 1847347 w 17121314"/>
              <a:gd name="connsiteY20" fmla="*/ 6557960 h 6923032"/>
              <a:gd name="connsiteX21" fmla="*/ 1847349 w 17121314"/>
              <a:gd name="connsiteY21" fmla="*/ 6923032 h 6923032"/>
              <a:gd name="connsiteX22" fmla="*/ 242587 w 17121314"/>
              <a:gd name="connsiteY22" fmla="*/ 5990801 h 6923032"/>
              <a:gd name="connsiteX23" fmla="*/ 257454 w 17121314"/>
              <a:gd name="connsiteY23" fmla="*/ 4134975 h 6923032"/>
              <a:gd name="connsiteX24" fmla="*/ 1753139 w 17121314"/>
              <a:gd name="connsiteY24" fmla="*/ 3230728 h 6923032"/>
              <a:gd name="connsiteX25" fmla="*/ 1828344 w 17121314"/>
              <a:gd name="connsiteY25" fmla="*/ 3229420 h 6923032"/>
              <a:gd name="connsiteX26" fmla="*/ 1828344 w 17121314"/>
              <a:gd name="connsiteY26" fmla="*/ 3228337 h 6923032"/>
              <a:gd name="connsiteX27" fmla="*/ 15328617 w 17121314"/>
              <a:gd name="connsiteY27" fmla="*/ 3228337 h 6923032"/>
              <a:gd name="connsiteX28" fmla="*/ 15328615 w 17121314"/>
              <a:gd name="connsiteY28" fmla="*/ 3225120 h 6923032"/>
              <a:gd name="connsiteX29" fmla="*/ 16563251 w 17121314"/>
              <a:gd name="connsiteY29" fmla="*/ 2508037 h 6923032"/>
              <a:gd name="connsiteX30" fmla="*/ 16560703 w 17121314"/>
              <a:gd name="connsiteY30" fmla="*/ 1081630 h 6923032"/>
              <a:gd name="connsiteX31" fmla="*/ 15323493 w 17121314"/>
              <a:gd name="connsiteY31" fmla="*/ 368985 h 6923032"/>
              <a:gd name="connsiteX32" fmla="*/ 15323483 w 17121314"/>
              <a:gd name="connsiteY32" fmla="*/ 365760 h 6923032"/>
              <a:gd name="connsiteX33" fmla="*/ 794000 w 17121314"/>
              <a:gd name="connsiteY33" fmla="*/ 365760 h 692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7121314" h="6923032">
                <a:moveTo>
                  <a:pt x="1944119" y="6557272"/>
                </a:moveTo>
                <a:lnTo>
                  <a:pt x="14928599" y="6557272"/>
                </a:lnTo>
                <a:lnTo>
                  <a:pt x="14928599" y="6923032"/>
                </a:lnTo>
                <a:lnTo>
                  <a:pt x="1944119" y="6923032"/>
                </a:lnTo>
                <a:close/>
                <a:moveTo>
                  <a:pt x="794000" y="0"/>
                </a:moveTo>
                <a:lnTo>
                  <a:pt x="15332959" y="0"/>
                </a:lnTo>
                <a:lnTo>
                  <a:pt x="15332959" y="330"/>
                </a:lnTo>
                <a:lnTo>
                  <a:pt x="15442083" y="3634"/>
                </a:lnTo>
                <a:cubicBezTo>
                  <a:pt x="16037377" y="41591"/>
                  <a:pt x="16578269" y="374668"/>
                  <a:pt x="16879835" y="896431"/>
                </a:cubicBezTo>
                <a:cubicBezTo>
                  <a:pt x="17200657" y="1451512"/>
                  <a:pt x="17201881" y="2135861"/>
                  <a:pt x="16883045" y="2692091"/>
                </a:cubicBezTo>
                <a:cubicBezTo>
                  <a:pt x="16583349" y="3214927"/>
                  <a:pt x="16043661" y="3549942"/>
                  <a:pt x="15448511" y="3590042"/>
                </a:cubicBezTo>
                <a:lnTo>
                  <a:pt x="15361463" y="3592991"/>
                </a:lnTo>
                <a:lnTo>
                  <a:pt x="15361463" y="3594097"/>
                </a:lnTo>
                <a:lnTo>
                  <a:pt x="15328811" y="3594097"/>
                </a:lnTo>
                <a:lnTo>
                  <a:pt x="15328797" y="3594098"/>
                </a:lnTo>
                <a:lnTo>
                  <a:pt x="15328797" y="3594097"/>
                </a:lnTo>
                <a:lnTo>
                  <a:pt x="1861285" y="3594097"/>
                </a:lnTo>
                <a:lnTo>
                  <a:pt x="1673544" y="3603608"/>
                </a:lnTo>
                <a:cubicBezTo>
                  <a:pt x="1218281" y="3657294"/>
                  <a:pt x="808869" y="3919955"/>
                  <a:pt x="571649" y="4320878"/>
                </a:cubicBezTo>
                <a:cubicBezTo>
                  <a:pt x="300542" y="4779076"/>
                  <a:pt x="295988" y="5347473"/>
                  <a:pt x="559719" y="5809956"/>
                </a:cubicBezTo>
                <a:cubicBezTo>
                  <a:pt x="823451" y="6272439"/>
                  <a:pt x="1314953" y="6557960"/>
                  <a:pt x="1847347" y="6557960"/>
                </a:cubicBezTo>
                <a:lnTo>
                  <a:pt x="1847349" y="6923032"/>
                </a:lnTo>
                <a:cubicBezTo>
                  <a:pt x="1183829" y="6923032"/>
                  <a:pt x="571274" y="6567189"/>
                  <a:pt x="242587" y="5990801"/>
                </a:cubicBezTo>
                <a:cubicBezTo>
                  <a:pt x="-86099" y="5414412"/>
                  <a:pt x="-80424" y="4706024"/>
                  <a:pt x="257454" y="4134975"/>
                </a:cubicBezTo>
                <a:cubicBezTo>
                  <a:pt x="574215" y="3599617"/>
                  <a:pt x="1137333" y="3262070"/>
                  <a:pt x="1753139" y="3230728"/>
                </a:cubicBezTo>
                <a:lnTo>
                  <a:pt x="1828344" y="3229420"/>
                </a:lnTo>
                <a:lnTo>
                  <a:pt x="1828344" y="3228337"/>
                </a:lnTo>
                <a:lnTo>
                  <a:pt x="15328617" y="3228337"/>
                </a:lnTo>
                <a:lnTo>
                  <a:pt x="15328615" y="3225120"/>
                </a:lnTo>
                <a:cubicBezTo>
                  <a:pt x="15838515" y="3224864"/>
                  <a:pt x="16309389" y="2951379"/>
                  <a:pt x="16563251" y="2508037"/>
                </a:cubicBezTo>
                <a:cubicBezTo>
                  <a:pt x="16816275" y="2066158"/>
                  <a:pt x="16815305" y="1522598"/>
                  <a:pt x="16560703" y="1081630"/>
                </a:cubicBezTo>
                <a:cubicBezTo>
                  <a:pt x="16305255" y="639197"/>
                  <a:pt x="15833399" y="367403"/>
                  <a:pt x="15323493" y="368985"/>
                </a:cubicBezTo>
                <a:lnTo>
                  <a:pt x="15323483" y="365760"/>
                </a:lnTo>
                <a:lnTo>
                  <a:pt x="794000" y="365760"/>
                </a:lnTo>
                <a:close/>
              </a:path>
            </a:pathLst>
          </a:custGeom>
          <a:gradFill>
            <a:gsLst>
              <a:gs pos="0">
                <a:srgbClr val="E9693B"/>
              </a:gs>
              <a:gs pos="100000">
                <a:srgbClr val="E9693B"/>
              </a:gs>
              <a:gs pos="53000">
                <a:srgbClr val="E9693B"/>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675" noProof="0">
              <a:latin typeface="Fira Sans Light" panose="020B0403050000020004" pitchFamily="34" charset="0"/>
            </a:endParaRPr>
          </a:p>
        </p:txBody>
      </p:sp>
      <p:grpSp>
        <p:nvGrpSpPr>
          <p:cNvPr id="54" name="Grupo 53">
            <a:extLst>
              <a:ext uri="{FF2B5EF4-FFF2-40B4-BE49-F238E27FC236}">
                <a16:creationId xmlns:a16="http://schemas.microsoft.com/office/drawing/2014/main" id="{56911A3A-6C09-DB75-3667-DDFAEA758FFE}"/>
              </a:ext>
            </a:extLst>
          </p:cNvPr>
          <p:cNvGrpSpPr/>
          <p:nvPr/>
        </p:nvGrpSpPr>
        <p:grpSpPr>
          <a:xfrm>
            <a:off x="245765" y="2660254"/>
            <a:ext cx="490884" cy="492443"/>
            <a:chOff x="4338875" y="1422627"/>
            <a:chExt cx="1156404" cy="987814"/>
          </a:xfrm>
        </p:grpSpPr>
        <p:grpSp>
          <p:nvGrpSpPr>
            <p:cNvPr id="55" name="Group 67">
              <a:extLst>
                <a:ext uri="{FF2B5EF4-FFF2-40B4-BE49-F238E27FC236}">
                  <a16:creationId xmlns:a16="http://schemas.microsoft.com/office/drawing/2014/main" id="{60C6D2B9-1E42-BBDF-300E-02ACB43607BA}"/>
                </a:ext>
              </a:extLst>
            </p:cNvPr>
            <p:cNvGrpSpPr/>
            <p:nvPr/>
          </p:nvGrpSpPr>
          <p:grpSpPr>
            <a:xfrm>
              <a:off x="4338875" y="1422627"/>
              <a:ext cx="1156404" cy="987814"/>
              <a:chOff x="10148408" y="2375071"/>
              <a:chExt cx="1852228" cy="1852228"/>
            </a:xfrm>
          </p:grpSpPr>
          <p:sp>
            <p:nvSpPr>
              <p:cNvPr id="57" name="Oval 7">
                <a:extLst>
                  <a:ext uri="{FF2B5EF4-FFF2-40B4-BE49-F238E27FC236}">
                    <a16:creationId xmlns:a16="http://schemas.microsoft.com/office/drawing/2014/main" id="{945816B7-D751-96D1-7FC7-D76DA6FCC806}"/>
                  </a:ext>
                </a:extLst>
              </p:cNvPr>
              <p:cNvSpPr/>
              <p:nvPr/>
            </p:nvSpPr>
            <p:spPr>
              <a:xfrm>
                <a:off x="10148408" y="2375071"/>
                <a:ext cx="1852228" cy="1852228"/>
              </a:xfrm>
              <a:prstGeom prst="ellipse">
                <a:avLst/>
              </a:prstGeom>
              <a:solidFill>
                <a:srgbClr val="E969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675" noProof="0">
                  <a:latin typeface="Fira Sans Light" panose="020B0403050000020004" pitchFamily="34" charset="0"/>
                </a:endParaRPr>
              </a:p>
            </p:txBody>
          </p:sp>
          <p:sp>
            <p:nvSpPr>
              <p:cNvPr id="58" name="Oval 61">
                <a:extLst>
                  <a:ext uri="{FF2B5EF4-FFF2-40B4-BE49-F238E27FC236}">
                    <a16:creationId xmlns:a16="http://schemas.microsoft.com/office/drawing/2014/main" id="{83E10844-40A1-C0DD-BE35-7F8D070D2F12}"/>
                  </a:ext>
                </a:extLst>
              </p:cNvPr>
              <p:cNvSpPr/>
              <p:nvPr/>
            </p:nvSpPr>
            <p:spPr>
              <a:xfrm>
                <a:off x="10266546" y="2490193"/>
                <a:ext cx="1615953" cy="16159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675" noProof="0">
                  <a:latin typeface="Fira Sans Light" panose="020B0403050000020004" pitchFamily="34" charset="0"/>
                </a:endParaRPr>
              </a:p>
            </p:txBody>
          </p:sp>
        </p:grpSp>
        <p:sp>
          <p:nvSpPr>
            <p:cNvPr id="56" name="Freeform 18">
              <a:extLst>
                <a:ext uri="{FF2B5EF4-FFF2-40B4-BE49-F238E27FC236}">
                  <a16:creationId xmlns:a16="http://schemas.microsoft.com/office/drawing/2014/main" id="{AC85657D-0D78-EB10-B571-06EAE4D653DB}"/>
                </a:ext>
              </a:extLst>
            </p:cNvPr>
            <p:cNvSpPr>
              <a:spLocks noChangeArrowheads="1"/>
            </p:cNvSpPr>
            <p:nvPr/>
          </p:nvSpPr>
          <p:spPr bwMode="auto">
            <a:xfrm>
              <a:off x="4682811" y="1715222"/>
              <a:ext cx="459853" cy="357027"/>
            </a:xfrm>
            <a:custGeom>
              <a:avLst/>
              <a:gdLst>
                <a:gd name="connsiteX0" fmla="*/ 176895 w 736553"/>
                <a:gd name="connsiteY0" fmla="*/ 422865 h 669451"/>
                <a:gd name="connsiteX1" fmla="*/ 27449 w 736553"/>
                <a:gd name="connsiteY1" fmla="*/ 641882 h 669451"/>
                <a:gd name="connsiteX2" fmla="*/ 709104 w 736553"/>
                <a:gd name="connsiteY2" fmla="*/ 641882 h 669451"/>
                <a:gd name="connsiteX3" fmla="*/ 562708 w 736553"/>
                <a:gd name="connsiteY3" fmla="*/ 422865 h 669451"/>
                <a:gd name="connsiteX4" fmla="*/ 369039 w 736553"/>
                <a:gd name="connsiteY4" fmla="*/ 530076 h 669451"/>
                <a:gd name="connsiteX5" fmla="*/ 176895 w 736553"/>
                <a:gd name="connsiteY5" fmla="*/ 422865 h 669451"/>
                <a:gd name="connsiteX6" fmla="*/ 184710 w 736553"/>
                <a:gd name="connsiteY6" fmla="*/ 392042 h 669451"/>
                <a:gd name="connsiteX7" fmla="*/ 192144 w 736553"/>
                <a:gd name="connsiteY7" fmla="*/ 399891 h 669451"/>
                <a:gd name="connsiteX8" fmla="*/ 369039 w 736553"/>
                <a:gd name="connsiteY8" fmla="*/ 502508 h 669451"/>
                <a:gd name="connsiteX9" fmla="*/ 544409 w 736553"/>
                <a:gd name="connsiteY9" fmla="*/ 399891 h 669451"/>
                <a:gd name="connsiteX10" fmla="*/ 562708 w 736553"/>
                <a:gd name="connsiteY10" fmla="*/ 392233 h 669451"/>
                <a:gd name="connsiteX11" fmla="*/ 736553 w 736553"/>
                <a:gd name="connsiteY11" fmla="*/ 654135 h 669451"/>
                <a:gd name="connsiteX12" fmla="*/ 733503 w 736553"/>
                <a:gd name="connsiteY12" fmla="*/ 663324 h 669451"/>
                <a:gd name="connsiteX13" fmla="*/ 724354 w 736553"/>
                <a:gd name="connsiteY13" fmla="*/ 669451 h 669451"/>
                <a:gd name="connsiteX14" fmla="*/ 13725 w 736553"/>
                <a:gd name="connsiteY14" fmla="*/ 669451 h 669451"/>
                <a:gd name="connsiteX15" fmla="*/ 3050 w 736553"/>
                <a:gd name="connsiteY15" fmla="*/ 663324 h 669451"/>
                <a:gd name="connsiteX16" fmla="*/ 0 w 736553"/>
                <a:gd name="connsiteY16" fmla="*/ 654135 h 669451"/>
                <a:gd name="connsiteX17" fmla="*/ 173845 w 736553"/>
                <a:gd name="connsiteY17" fmla="*/ 392233 h 669451"/>
                <a:gd name="connsiteX18" fmla="*/ 184710 w 736553"/>
                <a:gd name="connsiteY18" fmla="*/ 392042 h 669451"/>
                <a:gd name="connsiteX19" fmla="*/ 369037 w 736553"/>
                <a:gd name="connsiteY19" fmla="*/ 27467 h 669451"/>
                <a:gd name="connsiteX20" fmla="*/ 241946 w 736553"/>
                <a:gd name="connsiteY20" fmla="*/ 155649 h 669451"/>
                <a:gd name="connsiteX21" fmla="*/ 241946 w 736553"/>
                <a:gd name="connsiteY21" fmla="*/ 299091 h 669451"/>
                <a:gd name="connsiteX22" fmla="*/ 369037 w 736553"/>
                <a:gd name="connsiteY22" fmla="*/ 427274 h 669451"/>
                <a:gd name="connsiteX23" fmla="*/ 497641 w 736553"/>
                <a:gd name="connsiteY23" fmla="*/ 299091 h 669451"/>
                <a:gd name="connsiteX24" fmla="*/ 497641 w 736553"/>
                <a:gd name="connsiteY24" fmla="*/ 155649 h 669451"/>
                <a:gd name="connsiteX25" fmla="*/ 369037 w 736553"/>
                <a:gd name="connsiteY25" fmla="*/ 27467 h 669451"/>
                <a:gd name="connsiteX26" fmla="*/ 369037 w 736553"/>
                <a:gd name="connsiteY26" fmla="*/ 0 h 669451"/>
                <a:gd name="connsiteX27" fmla="*/ 521849 w 736553"/>
                <a:gd name="connsiteY27" fmla="*/ 155649 h 669451"/>
                <a:gd name="connsiteX28" fmla="*/ 521849 w 736553"/>
                <a:gd name="connsiteY28" fmla="*/ 299091 h 669451"/>
                <a:gd name="connsiteX29" fmla="*/ 369037 w 736553"/>
                <a:gd name="connsiteY29" fmla="*/ 454741 h 669451"/>
                <a:gd name="connsiteX30" fmla="*/ 214712 w 736553"/>
                <a:gd name="connsiteY30" fmla="*/ 299091 h 669451"/>
                <a:gd name="connsiteX31" fmla="*/ 214712 w 736553"/>
                <a:gd name="connsiteY31" fmla="*/ 155649 h 669451"/>
                <a:gd name="connsiteX32" fmla="*/ 369037 w 736553"/>
                <a:gd name="connsiteY32" fmla="*/ 0 h 669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36553" h="669451">
                  <a:moveTo>
                    <a:pt x="176895" y="422865"/>
                  </a:moveTo>
                  <a:cubicBezTo>
                    <a:pt x="51849" y="485660"/>
                    <a:pt x="30499" y="602061"/>
                    <a:pt x="27449" y="641882"/>
                  </a:cubicBezTo>
                  <a:lnTo>
                    <a:pt x="709104" y="641882"/>
                  </a:lnTo>
                  <a:cubicBezTo>
                    <a:pt x="706054" y="602061"/>
                    <a:pt x="684705" y="485660"/>
                    <a:pt x="562708" y="422865"/>
                  </a:cubicBezTo>
                  <a:cubicBezTo>
                    <a:pt x="521535" y="488723"/>
                    <a:pt x="446812" y="530076"/>
                    <a:pt x="369039" y="530076"/>
                  </a:cubicBezTo>
                  <a:cubicBezTo>
                    <a:pt x="291266" y="530076"/>
                    <a:pt x="218069" y="488723"/>
                    <a:pt x="176895" y="422865"/>
                  </a:cubicBezTo>
                  <a:close/>
                  <a:moveTo>
                    <a:pt x="184710" y="392042"/>
                  </a:moveTo>
                  <a:cubicBezTo>
                    <a:pt x="187951" y="393382"/>
                    <a:pt x="190619" y="396062"/>
                    <a:pt x="192144" y="399891"/>
                  </a:cubicBezTo>
                  <a:cubicBezTo>
                    <a:pt x="228743" y="464218"/>
                    <a:pt x="295841" y="502508"/>
                    <a:pt x="369039" y="502508"/>
                  </a:cubicBezTo>
                  <a:cubicBezTo>
                    <a:pt x="440712" y="502508"/>
                    <a:pt x="509335" y="464218"/>
                    <a:pt x="544409" y="399891"/>
                  </a:cubicBezTo>
                  <a:cubicBezTo>
                    <a:pt x="548984" y="392233"/>
                    <a:pt x="556609" y="389170"/>
                    <a:pt x="562708" y="392233"/>
                  </a:cubicBezTo>
                  <a:cubicBezTo>
                    <a:pt x="735028" y="471876"/>
                    <a:pt x="736553" y="652603"/>
                    <a:pt x="736553" y="654135"/>
                  </a:cubicBezTo>
                  <a:cubicBezTo>
                    <a:pt x="736553" y="660261"/>
                    <a:pt x="736553" y="661793"/>
                    <a:pt x="733503" y="663324"/>
                  </a:cubicBezTo>
                  <a:cubicBezTo>
                    <a:pt x="730453" y="666387"/>
                    <a:pt x="727403" y="669451"/>
                    <a:pt x="724354" y="669451"/>
                  </a:cubicBezTo>
                  <a:lnTo>
                    <a:pt x="13725" y="669451"/>
                  </a:lnTo>
                  <a:cubicBezTo>
                    <a:pt x="9150" y="669451"/>
                    <a:pt x="6100" y="666387"/>
                    <a:pt x="3050" y="663324"/>
                  </a:cubicBezTo>
                  <a:cubicBezTo>
                    <a:pt x="1525" y="661793"/>
                    <a:pt x="0" y="660261"/>
                    <a:pt x="0" y="654135"/>
                  </a:cubicBezTo>
                  <a:cubicBezTo>
                    <a:pt x="0" y="652603"/>
                    <a:pt x="1525" y="471876"/>
                    <a:pt x="173845" y="392233"/>
                  </a:cubicBezTo>
                  <a:cubicBezTo>
                    <a:pt x="177657" y="390702"/>
                    <a:pt x="181470" y="390702"/>
                    <a:pt x="184710" y="392042"/>
                  </a:cubicBezTo>
                  <a:close/>
                  <a:moveTo>
                    <a:pt x="369037" y="27467"/>
                  </a:moveTo>
                  <a:cubicBezTo>
                    <a:pt x="297927" y="27467"/>
                    <a:pt x="241946" y="85454"/>
                    <a:pt x="241946" y="155649"/>
                  </a:cubicBezTo>
                  <a:lnTo>
                    <a:pt x="241946" y="299091"/>
                  </a:lnTo>
                  <a:cubicBezTo>
                    <a:pt x="241946" y="369286"/>
                    <a:pt x="297927" y="427274"/>
                    <a:pt x="369037" y="427274"/>
                  </a:cubicBezTo>
                  <a:cubicBezTo>
                    <a:pt x="438635" y="427274"/>
                    <a:pt x="497641" y="369286"/>
                    <a:pt x="497641" y="299091"/>
                  </a:cubicBezTo>
                  <a:lnTo>
                    <a:pt x="497641" y="155649"/>
                  </a:lnTo>
                  <a:cubicBezTo>
                    <a:pt x="497641" y="85454"/>
                    <a:pt x="438635" y="27467"/>
                    <a:pt x="369037" y="27467"/>
                  </a:cubicBezTo>
                  <a:close/>
                  <a:moveTo>
                    <a:pt x="369037" y="0"/>
                  </a:moveTo>
                  <a:cubicBezTo>
                    <a:pt x="453765" y="0"/>
                    <a:pt x="521849" y="70195"/>
                    <a:pt x="521849" y="155649"/>
                  </a:cubicBezTo>
                  <a:lnTo>
                    <a:pt x="521849" y="299091"/>
                  </a:lnTo>
                  <a:cubicBezTo>
                    <a:pt x="521849" y="383020"/>
                    <a:pt x="453765" y="454741"/>
                    <a:pt x="369037" y="454741"/>
                  </a:cubicBezTo>
                  <a:cubicBezTo>
                    <a:pt x="284310" y="454741"/>
                    <a:pt x="214712" y="383020"/>
                    <a:pt x="214712" y="299091"/>
                  </a:cubicBezTo>
                  <a:lnTo>
                    <a:pt x="214712" y="155649"/>
                  </a:lnTo>
                  <a:cubicBezTo>
                    <a:pt x="214712" y="70195"/>
                    <a:pt x="284310" y="0"/>
                    <a:pt x="369037" y="0"/>
                  </a:cubicBezTo>
                  <a:close/>
                </a:path>
              </a:pathLst>
            </a:custGeom>
            <a:solidFill>
              <a:srgbClr val="E9693B"/>
            </a:solidFill>
            <a:ln>
              <a:noFill/>
            </a:ln>
            <a:effectLst/>
          </p:spPr>
          <p:txBody>
            <a:bodyPr wrap="square" anchor="ctr">
              <a:noAutofit/>
            </a:bodyPr>
            <a:lstStyle/>
            <a:p>
              <a:endParaRPr lang="es-PE" sz="2700" noProof="0">
                <a:solidFill>
                  <a:schemeClr val="tx2"/>
                </a:solidFill>
                <a:latin typeface="Fira Sans Light" panose="020B0403050000020004" pitchFamily="34" charset="0"/>
              </a:endParaRPr>
            </a:p>
          </p:txBody>
        </p:sp>
      </p:grpSp>
      <p:sp>
        <p:nvSpPr>
          <p:cNvPr id="2" name="Título 1">
            <a:extLst>
              <a:ext uri="{FF2B5EF4-FFF2-40B4-BE49-F238E27FC236}">
                <a16:creationId xmlns:a16="http://schemas.microsoft.com/office/drawing/2014/main" id="{E054C91C-6D4B-E55D-ACEF-A2A0B2C0E877}"/>
              </a:ext>
            </a:extLst>
          </p:cNvPr>
          <p:cNvSpPr>
            <a:spLocks noGrp="1"/>
          </p:cNvSpPr>
          <p:nvPr>
            <p:ph type="title"/>
          </p:nvPr>
        </p:nvSpPr>
        <p:spPr>
          <a:xfrm>
            <a:off x="1111927" y="811567"/>
            <a:ext cx="7938285" cy="609398"/>
          </a:xfrm>
        </p:spPr>
        <p:txBody>
          <a:bodyPr/>
          <a:lstStyle/>
          <a:p>
            <a:r>
              <a:rPr lang="es-ES" sz="3200" b="1" dirty="0">
                <a:solidFill>
                  <a:srgbClr val="3FA7A7"/>
                </a:solidFill>
                <a:latin typeface="Source Sans Pro"/>
                <a:ea typeface="Source Sans Pro"/>
                <a:cs typeface="Open Sans"/>
              </a:rPr>
              <a:t>Guía</a:t>
            </a:r>
            <a:r>
              <a:rPr lang="es-ES" dirty="0"/>
              <a:t> </a:t>
            </a:r>
            <a:r>
              <a:rPr lang="es-ES" sz="3200" b="1" dirty="0">
                <a:solidFill>
                  <a:srgbClr val="3FA7A7"/>
                </a:solidFill>
                <a:latin typeface="Source Sans Pro"/>
                <a:ea typeface="Source Sans Pro"/>
                <a:cs typeface="Open Sans"/>
              </a:rPr>
              <a:t>Resumen – Participación de Usuario</a:t>
            </a:r>
            <a:endParaRPr lang="es-PE" dirty="0"/>
          </a:p>
        </p:txBody>
      </p:sp>
      <p:pic>
        <p:nvPicPr>
          <p:cNvPr id="4" name="Imagen 3" descr="Imagen que contiene Logotipo&#10;&#10;Descripción generada automáticamente">
            <a:extLst>
              <a:ext uri="{FF2B5EF4-FFF2-40B4-BE49-F238E27FC236}">
                <a16:creationId xmlns:a16="http://schemas.microsoft.com/office/drawing/2014/main" id="{2D647C43-5144-4A88-88F7-BB396A7CA1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
            <a:ext cx="7110930" cy="1060175"/>
          </a:xfrm>
          <a:prstGeom prst="rect">
            <a:avLst/>
          </a:prstGeom>
        </p:spPr>
      </p:pic>
      <p:pic>
        <p:nvPicPr>
          <p:cNvPr id="5" name="Imagen 4" descr="Logotipo&#10;&#10;Descripción generada automáticamente">
            <a:extLst>
              <a:ext uri="{FF2B5EF4-FFF2-40B4-BE49-F238E27FC236}">
                <a16:creationId xmlns:a16="http://schemas.microsoft.com/office/drawing/2014/main" id="{C5BFD603-B5D6-12F2-E79D-5825C28582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29800" y="530086"/>
            <a:ext cx="1905000" cy="698500"/>
          </a:xfrm>
          <a:prstGeom prst="rect">
            <a:avLst/>
          </a:prstGeom>
        </p:spPr>
      </p:pic>
      <p:sp>
        <p:nvSpPr>
          <p:cNvPr id="6" name="TextBox 37">
            <a:extLst>
              <a:ext uri="{FF2B5EF4-FFF2-40B4-BE49-F238E27FC236}">
                <a16:creationId xmlns:a16="http://schemas.microsoft.com/office/drawing/2014/main" id="{3757A4A5-5D3B-435B-5DE0-94EF32966ACD}"/>
              </a:ext>
            </a:extLst>
          </p:cNvPr>
          <p:cNvSpPr txBox="1"/>
          <p:nvPr/>
        </p:nvSpPr>
        <p:spPr>
          <a:xfrm>
            <a:off x="34812" y="3199699"/>
            <a:ext cx="1059907" cy="246221"/>
          </a:xfrm>
          <a:prstGeom prst="rect">
            <a:avLst/>
          </a:prstGeom>
          <a:noFill/>
        </p:spPr>
        <p:txBody>
          <a:bodyPr wrap="none" rtlCol="0" anchor="ctr" anchorCtr="0">
            <a:spAutoFit/>
          </a:bodyPr>
          <a:lstStyle/>
          <a:p>
            <a:pPr algn="ctr"/>
            <a:r>
              <a:rPr lang="es-PE" sz="1000" b="1" noProof="0" dirty="0" err="1">
                <a:solidFill>
                  <a:schemeClr val="tx2"/>
                </a:solidFill>
                <a:latin typeface="Fira Sans" panose="020B0503050000020004" pitchFamily="34" charset="0"/>
                <a:ea typeface="League Spartan" charset="0"/>
                <a:cs typeface="Poppins" pitchFamily="2" charset="77"/>
              </a:rPr>
              <a:t>Product</a:t>
            </a:r>
            <a:r>
              <a:rPr lang="es-PE" sz="1000" b="1" noProof="0" dirty="0">
                <a:solidFill>
                  <a:schemeClr val="tx2"/>
                </a:solidFill>
                <a:latin typeface="Fira Sans" panose="020B0503050000020004" pitchFamily="34" charset="0"/>
                <a:ea typeface="League Spartan" charset="0"/>
                <a:cs typeface="Poppins" pitchFamily="2" charset="77"/>
              </a:rPr>
              <a:t> </a:t>
            </a:r>
            <a:r>
              <a:rPr lang="es-PE" sz="1000" b="1" noProof="0" dirty="0" err="1">
                <a:solidFill>
                  <a:schemeClr val="tx2"/>
                </a:solidFill>
                <a:latin typeface="Fira Sans" panose="020B0503050000020004" pitchFamily="34" charset="0"/>
                <a:ea typeface="League Spartan" charset="0"/>
                <a:cs typeface="Poppins" pitchFamily="2" charset="77"/>
              </a:rPr>
              <a:t>Owner</a:t>
            </a:r>
            <a:endParaRPr lang="es-PE" sz="1000" b="1" noProof="0" dirty="0">
              <a:solidFill>
                <a:schemeClr val="tx2"/>
              </a:solidFill>
              <a:latin typeface="Fira Sans" panose="020B0503050000020004" pitchFamily="34" charset="0"/>
              <a:ea typeface="League Spartan" charset="0"/>
              <a:cs typeface="Poppins" pitchFamily="2" charset="77"/>
            </a:endParaRPr>
          </a:p>
        </p:txBody>
      </p:sp>
      <p:sp>
        <p:nvSpPr>
          <p:cNvPr id="7" name="Subtitle 2">
            <a:extLst>
              <a:ext uri="{FF2B5EF4-FFF2-40B4-BE49-F238E27FC236}">
                <a16:creationId xmlns:a16="http://schemas.microsoft.com/office/drawing/2014/main" id="{9BDD6537-2DE5-984A-ABCC-8024B5861F51}"/>
              </a:ext>
            </a:extLst>
          </p:cNvPr>
          <p:cNvSpPr txBox="1">
            <a:spLocks/>
          </p:cNvSpPr>
          <p:nvPr/>
        </p:nvSpPr>
        <p:spPr>
          <a:xfrm>
            <a:off x="12483" y="3421567"/>
            <a:ext cx="1156405" cy="45170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s-PE" sz="800" noProof="0" dirty="0">
                <a:solidFill>
                  <a:schemeClr val="tx1"/>
                </a:solidFill>
                <a:latin typeface="Fira Sans Light" panose="020B0403050000020004" pitchFamily="34" charset="0"/>
                <a:ea typeface="Open Sans Light" panose="020B0306030504020204" pitchFamily="34" charset="0"/>
                <a:cs typeface="Open Sans Light" panose="020B0306030504020204" pitchFamily="34" charset="0"/>
              </a:rPr>
              <a:t>Presenta el valor de negocio de la solución</a:t>
            </a:r>
          </a:p>
        </p:txBody>
      </p:sp>
      <p:pic>
        <p:nvPicPr>
          <p:cNvPr id="8" name="Imagen 7">
            <a:extLst>
              <a:ext uri="{FF2B5EF4-FFF2-40B4-BE49-F238E27FC236}">
                <a16:creationId xmlns:a16="http://schemas.microsoft.com/office/drawing/2014/main" id="{74B50FB3-39AC-9FA6-316C-ECE3B75947E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8472" y="2709034"/>
            <a:ext cx="382321" cy="382321"/>
          </a:xfrm>
          <a:prstGeom prst="rect">
            <a:avLst/>
          </a:prstGeom>
        </p:spPr>
      </p:pic>
      <p:grpSp>
        <p:nvGrpSpPr>
          <p:cNvPr id="9" name="Group 68">
            <a:extLst>
              <a:ext uri="{FF2B5EF4-FFF2-40B4-BE49-F238E27FC236}">
                <a16:creationId xmlns:a16="http://schemas.microsoft.com/office/drawing/2014/main" id="{1F689286-D18F-3EDD-B917-C5F27C853A08}"/>
              </a:ext>
            </a:extLst>
          </p:cNvPr>
          <p:cNvGrpSpPr/>
          <p:nvPr/>
        </p:nvGrpSpPr>
        <p:grpSpPr>
          <a:xfrm>
            <a:off x="500681" y="1753906"/>
            <a:ext cx="1156404" cy="987814"/>
            <a:chOff x="3642400" y="2375071"/>
            <a:chExt cx="1852228" cy="1852228"/>
          </a:xfrm>
        </p:grpSpPr>
        <p:sp>
          <p:nvSpPr>
            <p:cNvPr id="10" name="Oval 4">
              <a:extLst>
                <a:ext uri="{FF2B5EF4-FFF2-40B4-BE49-F238E27FC236}">
                  <a16:creationId xmlns:a16="http://schemas.microsoft.com/office/drawing/2014/main" id="{54AFA0B4-7A27-3403-B356-984E88C66EAC}"/>
                </a:ext>
              </a:extLst>
            </p:cNvPr>
            <p:cNvSpPr/>
            <p:nvPr/>
          </p:nvSpPr>
          <p:spPr>
            <a:xfrm>
              <a:off x="3642400" y="2375071"/>
              <a:ext cx="1852228" cy="1852228"/>
            </a:xfrm>
            <a:prstGeom prst="ellipse">
              <a:avLst/>
            </a:prstGeom>
            <a:gradFill>
              <a:gsLst>
                <a:gs pos="0">
                  <a:srgbClr val="E9693B"/>
                </a:gs>
                <a:gs pos="100000">
                  <a:schemeClr val="bg1"/>
                </a:gs>
                <a:gs pos="53000">
                  <a:srgbClr val="E9693B"/>
                </a:gs>
              </a:gsLst>
              <a:lin ang="5400000" scaled="1"/>
            </a:gradFill>
            <a:ln>
              <a:solidFill>
                <a:srgbClr val="E9693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675" noProof="0">
                <a:latin typeface="Fira Sans Light" panose="020B0403050000020004" pitchFamily="34" charset="0"/>
              </a:endParaRPr>
            </a:p>
          </p:txBody>
        </p:sp>
        <p:sp>
          <p:nvSpPr>
            <p:cNvPr id="11" name="Oval 59">
              <a:extLst>
                <a:ext uri="{FF2B5EF4-FFF2-40B4-BE49-F238E27FC236}">
                  <a16:creationId xmlns:a16="http://schemas.microsoft.com/office/drawing/2014/main" id="{A191E558-CF5E-533F-BF47-F2A34B097CB3}"/>
                </a:ext>
              </a:extLst>
            </p:cNvPr>
            <p:cNvSpPr/>
            <p:nvPr/>
          </p:nvSpPr>
          <p:spPr>
            <a:xfrm>
              <a:off x="3754346" y="2490194"/>
              <a:ext cx="1615953" cy="1615953"/>
            </a:xfrm>
            <a:prstGeom prst="ellipse">
              <a:avLst/>
            </a:prstGeom>
            <a:solidFill>
              <a:schemeClr val="bg1"/>
            </a:solidFill>
            <a:ln>
              <a:solidFill>
                <a:srgbClr val="E9693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675" noProof="0">
                <a:latin typeface="Fira Sans Light" panose="020B0403050000020004" pitchFamily="34" charset="0"/>
              </a:endParaRPr>
            </a:p>
          </p:txBody>
        </p:sp>
      </p:grpSp>
      <p:sp>
        <p:nvSpPr>
          <p:cNvPr id="12" name="TextBox 45">
            <a:extLst>
              <a:ext uri="{FF2B5EF4-FFF2-40B4-BE49-F238E27FC236}">
                <a16:creationId xmlns:a16="http://schemas.microsoft.com/office/drawing/2014/main" id="{6BDC6B8B-A82E-2DF2-1357-3A4EFFCD795E}"/>
              </a:ext>
            </a:extLst>
          </p:cNvPr>
          <p:cNvSpPr txBox="1"/>
          <p:nvPr/>
        </p:nvSpPr>
        <p:spPr>
          <a:xfrm>
            <a:off x="495687" y="1988881"/>
            <a:ext cx="1134418" cy="507831"/>
          </a:xfrm>
          <a:prstGeom prst="rect">
            <a:avLst/>
          </a:prstGeom>
          <a:noFill/>
        </p:spPr>
        <p:txBody>
          <a:bodyPr wrap="square" lIns="91440" tIns="45720" rIns="91440" bIns="45720" rtlCol="0" anchor="ctr" anchorCtr="0">
            <a:spAutoFit/>
          </a:bodyPr>
          <a:lstStyle/>
          <a:p>
            <a:pPr algn="ctr"/>
            <a:r>
              <a:rPr lang="es-PE" sz="900" b="1">
                <a:solidFill>
                  <a:schemeClr val="tx1">
                    <a:lumMod val="75000"/>
                    <a:lumOff val="25000"/>
                  </a:schemeClr>
                </a:solidFill>
                <a:latin typeface="Fira Sans"/>
                <a:ea typeface="League Spartan" charset="0"/>
                <a:cs typeface="Poppins"/>
              </a:rPr>
              <a:t>Atención de</a:t>
            </a:r>
            <a:r>
              <a:rPr lang="es-PE" sz="900" b="1" noProof="0">
                <a:solidFill>
                  <a:schemeClr val="tx1">
                    <a:lumMod val="75000"/>
                    <a:lumOff val="25000"/>
                  </a:schemeClr>
                </a:solidFill>
                <a:latin typeface="Fira Sans"/>
                <a:ea typeface="League Spartan" charset="0"/>
                <a:cs typeface="Poppins"/>
              </a:rPr>
              <a:t> </a:t>
            </a:r>
            <a:r>
              <a:rPr lang="es-PE" sz="900" b="1">
                <a:solidFill>
                  <a:schemeClr val="tx1">
                    <a:lumMod val="75000"/>
                    <a:lumOff val="25000"/>
                  </a:schemeClr>
                </a:solidFill>
                <a:latin typeface="Fira Sans"/>
                <a:ea typeface="League Spartan" charset="0"/>
                <a:cs typeface="Poppins"/>
              </a:rPr>
              <a:t>un</a:t>
            </a:r>
            <a:r>
              <a:rPr lang="es-PE" sz="900" b="1" noProof="0">
                <a:solidFill>
                  <a:schemeClr val="tx1">
                    <a:lumMod val="75000"/>
                    <a:lumOff val="25000"/>
                  </a:schemeClr>
                </a:solidFill>
                <a:latin typeface="Fira Sans"/>
                <a:ea typeface="League Spartan" charset="0"/>
                <a:cs typeface="Poppins"/>
              </a:rPr>
              <a:t> </a:t>
            </a:r>
            <a:r>
              <a:rPr lang="es-PE" sz="900" b="1" err="1">
                <a:solidFill>
                  <a:schemeClr val="tx1">
                    <a:lumMod val="75000"/>
                    <a:lumOff val="25000"/>
                  </a:schemeClr>
                </a:solidFill>
                <a:latin typeface="Fira Sans"/>
                <a:ea typeface="League Spartan" charset="0"/>
                <a:cs typeface="Poppins"/>
              </a:rPr>
              <a:t>Pyto</a:t>
            </a:r>
            <a:r>
              <a:rPr lang="es-PE" sz="900" b="1" noProof="0">
                <a:solidFill>
                  <a:schemeClr val="tx1">
                    <a:lumMod val="75000"/>
                    <a:lumOff val="25000"/>
                  </a:schemeClr>
                </a:solidFill>
                <a:latin typeface="Fira Sans"/>
                <a:ea typeface="League Spartan" charset="0"/>
                <a:cs typeface="Poppins"/>
              </a:rPr>
              <a:t> </a:t>
            </a:r>
            <a:r>
              <a:rPr lang="es-PE" sz="900" b="1">
                <a:solidFill>
                  <a:schemeClr val="tx1">
                    <a:lumMod val="75000"/>
                    <a:lumOff val="25000"/>
                  </a:schemeClr>
                </a:solidFill>
                <a:latin typeface="Fira Sans"/>
                <a:ea typeface="League Spartan" charset="0"/>
                <a:cs typeface="Poppins"/>
              </a:rPr>
              <a:t>o Piloto</a:t>
            </a:r>
            <a:r>
              <a:rPr lang="es-PE" sz="900" b="1" noProof="0">
                <a:solidFill>
                  <a:schemeClr val="tx1">
                    <a:lumMod val="75000"/>
                    <a:lumOff val="25000"/>
                  </a:schemeClr>
                </a:solidFill>
                <a:latin typeface="Fira Sans"/>
                <a:ea typeface="League Spartan" charset="0"/>
                <a:cs typeface="Poppins"/>
              </a:rPr>
              <a:t> (</a:t>
            </a:r>
            <a:r>
              <a:rPr lang="es-PE" sz="900" b="1" noProof="0" err="1">
                <a:solidFill>
                  <a:schemeClr val="tx1">
                    <a:lumMod val="75000"/>
                    <a:lumOff val="25000"/>
                  </a:schemeClr>
                </a:solidFill>
                <a:latin typeface="Fira Sans"/>
                <a:ea typeface="League Spartan" charset="0"/>
                <a:cs typeface="Poppins"/>
              </a:rPr>
              <a:t>asessments</a:t>
            </a:r>
            <a:r>
              <a:rPr lang="es-PE" sz="900" b="1" noProof="0">
                <a:solidFill>
                  <a:schemeClr val="tx1">
                    <a:lumMod val="75000"/>
                    <a:lumOff val="25000"/>
                  </a:schemeClr>
                </a:solidFill>
                <a:latin typeface="Fira Sans"/>
                <a:ea typeface="League Spartan" charset="0"/>
                <a:cs typeface="Poppins"/>
              </a:rPr>
              <a:t>) </a:t>
            </a:r>
          </a:p>
        </p:txBody>
      </p:sp>
      <p:sp>
        <p:nvSpPr>
          <p:cNvPr id="14" name="TextBox 37">
            <a:extLst>
              <a:ext uri="{FF2B5EF4-FFF2-40B4-BE49-F238E27FC236}">
                <a16:creationId xmlns:a16="http://schemas.microsoft.com/office/drawing/2014/main" id="{C4F3F3FF-12F0-BFFE-427B-10E3D6A5CB6F}"/>
              </a:ext>
            </a:extLst>
          </p:cNvPr>
          <p:cNvSpPr txBox="1"/>
          <p:nvPr/>
        </p:nvSpPr>
        <p:spPr>
          <a:xfrm>
            <a:off x="3297822" y="3193315"/>
            <a:ext cx="1244654" cy="246221"/>
          </a:xfrm>
          <a:prstGeom prst="rect">
            <a:avLst/>
          </a:prstGeom>
          <a:noFill/>
        </p:spPr>
        <p:txBody>
          <a:bodyPr wrap="square" rtlCol="0" anchor="ctr" anchorCtr="0">
            <a:spAutoFit/>
          </a:bodyPr>
          <a:lstStyle/>
          <a:p>
            <a:pPr algn="ctr"/>
            <a:r>
              <a:rPr lang="es-PE" sz="1000" b="1" noProof="0" dirty="0" err="1">
                <a:solidFill>
                  <a:schemeClr val="tx2"/>
                </a:solidFill>
                <a:latin typeface="Fira Sans" panose="020B0503050000020004" pitchFamily="34" charset="0"/>
                <a:ea typeface="League Spartan" charset="0"/>
                <a:cs typeface="Poppins" pitchFamily="2" charset="77"/>
              </a:rPr>
              <a:t>Product</a:t>
            </a:r>
            <a:r>
              <a:rPr lang="es-PE" sz="1000" b="1" noProof="0" dirty="0">
                <a:solidFill>
                  <a:schemeClr val="tx2"/>
                </a:solidFill>
                <a:latin typeface="Fira Sans" panose="020B0503050000020004" pitchFamily="34" charset="0"/>
                <a:ea typeface="League Spartan" charset="0"/>
                <a:cs typeface="Poppins" pitchFamily="2" charset="77"/>
              </a:rPr>
              <a:t> </a:t>
            </a:r>
            <a:r>
              <a:rPr lang="es-PE" sz="1000" b="1" noProof="0" dirty="0" err="1">
                <a:solidFill>
                  <a:schemeClr val="tx2"/>
                </a:solidFill>
                <a:latin typeface="Fira Sans" panose="020B0503050000020004" pitchFamily="34" charset="0"/>
                <a:ea typeface="League Spartan" charset="0"/>
                <a:cs typeface="Poppins" pitchFamily="2" charset="77"/>
              </a:rPr>
              <a:t>Owner</a:t>
            </a:r>
            <a:endParaRPr lang="es-PE" sz="1000" b="1" noProof="0" dirty="0">
              <a:solidFill>
                <a:schemeClr val="tx2"/>
              </a:solidFill>
              <a:latin typeface="Fira Sans" panose="020B0503050000020004" pitchFamily="34" charset="0"/>
              <a:ea typeface="League Spartan" charset="0"/>
              <a:cs typeface="Poppins" pitchFamily="2" charset="77"/>
            </a:endParaRPr>
          </a:p>
        </p:txBody>
      </p:sp>
      <p:sp>
        <p:nvSpPr>
          <p:cNvPr id="15" name="Subtitle 2">
            <a:extLst>
              <a:ext uri="{FF2B5EF4-FFF2-40B4-BE49-F238E27FC236}">
                <a16:creationId xmlns:a16="http://schemas.microsoft.com/office/drawing/2014/main" id="{ED04ABC7-8FF8-5A6F-9E34-6C814F172C6D}"/>
              </a:ext>
            </a:extLst>
          </p:cNvPr>
          <p:cNvSpPr txBox="1">
            <a:spLocks/>
          </p:cNvSpPr>
          <p:nvPr/>
        </p:nvSpPr>
        <p:spPr>
          <a:xfrm>
            <a:off x="3534360" y="3441264"/>
            <a:ext cx="814373" cy="328598"/>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s-PE" sz="800" dirty="0">
                <a:solidFill>
                  <a:schemeClr val="tx1"/>
                </a:solidFill>
                <a:latin typeface="Fira Sans Light"/>
                <a:ea typeface="Open Sans Light"/>
              </a:rPr>
              <a:t>Acepta el presupuesto</a:t>
            </a:r>
          </a:p>
        </p:txBody>
      </p:sp>
      <p:pic>
        <p:nvPicPr>
          <p:cNvPr id="17" name="Imagen 16">
            <a:extLst>
              <a:ext uri="{FF2B5EF4-FFF2-40B4-BE49-F238E27FC236}">
                <a16:creationId xmlns:a16="http://schemas.microsoft.com/office/drawing/2014/main" id="{CF91571C-22C9-615B-6146-1894F7D98EE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81189" y="2530153"/>
            <a:ext cx="226987" cy="226987"/>
          </a:xfrm>
          <a:prstGeom prst="rect">
            <a:avLst/>
          </a:prstGeom>
        </p:spPr>
      </p:pic>
      <p:sp>
        <p:nvSpPr>
          <p:cNvPr id="18" name="TextBox 37">
            <a:extLst>
              <a:ext uri="{FF2B5EF4-FFF2-40B4-BE49-F238E27FC236}">
                <a16:creationId xmlns:a16="http://schemas.microsoft.com/office/drawing/2014/main" id="{86D3A42C-42C2-DD1D-B638-CE848CBCFBAF}"/>
              </a:ext>
            </a:extLst>
          </p:cNvPr>
          <p:cNvSpPr txBox="1"/>
          <p:nvPr/>
        </p:nvSpPr>
        <p:spPr>
          <a:xfrm>
            <a:off x="8031818" y="3146283"/>
            <a:ext cx="1244654" cy="246221"/>
          </a:xfrm>
          <a:prstGeom prst="rect">
            <a:avLst/>
          </a:prstGeom>
          <a:noFill/>
        </p:spPr>
        <p:txBody>
          <a:bodyPr wrap="square" rtlCol="0" anchor="ctr" anchorCtr="0">
            <a:spAutoFit/>
          </a:bodyPr>
          <a:lstStyle/>
          <a:p>
            <a:pPr algn="ctr"/>
            <a:r>
              <a:rPr lang="es-PE" sz="1000" b="1" noProof="0" dirty="0" err="1">
                <a:solidFill>
                  <a:schemeClr val="tx2"/>
                </a:solidFill>
                <a:latin typeface="Fira Sans" panose="020B0503050000020004" pitchFamily="34" charset="0"/>
                <a:ea typeface="League Spartan" charset="0"/>
                <a:cs typeface="Poppins" pitchFamily="2" charset="77"/>
              </a:rPr>
              <a:t>Product</a:t>
            </a:r>
            <a:r>
              <a:rPr lang="es-PE" sz="1000" b="1" noProof="0" dirty="0">
                <a:solidFill>
                  <a:schemeClr val="tx2"/>
                </a:solidFill>
                <a:latin typeface="Fira Sans" panose="020B0503050000020004" pitchFamily="34" charset="0"/>
                <a:ea typeface="League Spartan" charset="0"/>
                <a:cs typeface="Poppins" pitchFamily="2" charset="77"/>
              </a:rPr>
              <a:t> </a:t>
            </a:r>
            <a:r>
              <a:rPr lang="es-PE" sz="1000" b="1" noProof="0" dirty="0" err="1">
                <a:solidFill>
                  <a:schemeClr val="tx2"/>
                </a:solidFill>
                <a:latin typeface="Fira Sans" panose="020B0503050000020004" pitchFamily="34" charset="0"/>
                <a:ea typeface="League Spartan" charset="0"/>
                <a:cs typeface="Poppins" pitchFamily="2" charset="77"/>
              </a:rPr>
              <a:t>Owner</a:t>
            </a:r>
            <a:endParaRPr lang="es-PE" sz="1000" b="1" noProof="0" dirty="0">
              <a:solidFill>
                <a:schemeClr val="tx2"/>
              </a:solidFill>
              <a:latin typeface="Fira Sans" panose="020B0503050000020004" pitchFamily="34" charset="0"/>
              <a:ea typeface="League Spartan" charset="0"/>
              <a:cs typeface="Poppins" pitchFamily="2" charset="77"/>
            </a:endParaRPr>
          </a:p>
        </p:txBody>
      </p:sp>
      <p:sp>
        <p:nvSpPr>
          <p:cNvPr id="19" name="Subtitle 2">
            <a:extLst>
              <a:ext uri="{FF2B5EF4-FFF2-40B4-BE49-F238E27FC236}">
                <a16:creationId xmlns:a16="http://schemas.microsoft.com/office/drawing/2014/main" id="{A1D871E2-B7CD-A0CF-F5E8-16590A0E851E}"/>
              </a:ext>
            </a:extLst>
          </p:cNvPr>
          <p:cNvSpPr txBox="1">
            <a:spLocks/>
          </p:cNvSpPr>
          <p:nvPr/>
        </p:nvSpPr>
        <p:spPr>
          <a:xfrm>
            <a:off x="8166045" y="3386853"/>
            <a:ext cx="1041565" cy="451709"/>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s-PE" sz="800" dirty="0">
                <a:solidFill>
                  <a:schemeClr val="tx1"/>
                </a:solidFill>
                <a:latin typeface="Fira Sans Light"/>
                <a:ea typeface="Open Sans Light"/>
              </a:rPr>
              <a:t>Aprueba Matriz de accesos en Unity </a:t>
            </a:r>
            <a:r>
              <a:rPr lang="es-PE" sz="800" dirty="0" err="1">
                <a:solidFill>
                  <a:schemeClr val="tx1"/>
                </a:solidFill>
                <a:latin typeface="Fira Sans Light"/>
                <a:ea typeface="Open Sans Light"/>
              </a:rPr>
              <a:t>Catalog</a:t>
            </a:r>
            <a:endParaRPr lang="es-ES" dirty="0">
              <a:solidFill>
                <a:schemeClr val="tx1"/>
              </a:solidFill>
            </a:endParaRPr>
          </a:p>
        </p:txBody>
      </p:sp>
      <p:sp>
        <p:nvSpPr>
          <p:cNvPr id="22" name="TextBox 37">
            <a:extLst>
              <a:ext uri="{FF2B5EF4-FFF2-40B4-BE49-F238E27FC236}">
                <a16:creationId xmlns:a16="http://schemas.microsoft.com/office/drawing/2014/main" id="{B50B96B2-0810-B9BC-F4BF-425C5F122F5C}"/>
              </a:ext>
            </a:extLst>
          </p:cNvPr>
          <p:cNvSpPr txBox="1"/>
          <p:nvPr/>
        </p:nvSpPr>
        <p:spPr>
          <a:xfrm>
            <a:off x="9892098" y="3322810"/>
            <a:ext cx="1396333" cy="246221"/>
          </a:xfrm>
          <a:prstGeom prst="rect">
            <a:avLst/>
          </a:prstGeom>
          <a:noFill/>
        </p:spPr>
        <p:txBody>
          <a:bodyPr wrap="square" rtlCol="0" anchor="ctr" anchorCtr="0">
            <a:spAutoFit/>
          </a:bodyPr>
          <a:lstStyle/>
          <a:p>
            <a:pPr algn="ctr"/>
            <a:r>
              <a:rPr lang="es-PE" sz="1000" b="1" noProof="0" dirty="0" err="1">
                <a:solidFill>
                  <a:schemeClr val="tx2"/>
                </a:solidFill>
                <a:latin typeface="Fira Sans" panose="020B0503050000020004" pitchFamily="34" charset="0"/>
                <a:ea typeface="League Spartan" charset="0"/>
                <a:cs typeface="Poppins" pitchFamily="2" charset="77"/>
              </a:rPr>
              <a:t>Product</a:t>
            </a:r>
            <a:r>
              <a:rPr lang="es-PE" sz="1000" b="1" noProof="0" dirty="0">
                <a:solidFill>
                  <a:schemeClr val="tx2"/>
                </a:solidFill>
                <a:latin typeface="Fira Sans" panose="020B0503050000020004" pitchFamily="34" charset="0"/>
                <a:ea typeface="League Spartan" charset="0"/>
                <a:cs typeface="Poppins" pitchFamily="2" charset="77"/>
              </a:rPr>
              <a:t> </a:t>
            </a:r>
            <a:r>
              <a:rPr lang="es-PE" sz="1000" b="1" noProof="0" dirty="0" err="1">
                <a:solidFill>
                  <a:schemeClr val="tx2"/>
                </a:solidFill>
                <a:latin typeface="Fira Sans" panose="020B0503050000020004" pitchFamily="34" charset="0"/>
                <a:ea typeface="League Spartan" charset="0"/>
                <a:cs typeface="Poppins" pitchFamily="2" charset="77"/>
              </a:rPr>
              <a:t>Owner</a:t>
            </a:r>
            <a:endParaRPr lang="es-PE" sz="1000" b="1" noProof="0" dirty="0">
              <a:solidFill>
                <a:schemeClr val="tx2"/>
              </a:solidFill>
              <a:latin typeface="Fira Sans" panose="020B0503050000020004" pitchFamily="34" charset="0"/>
              <a:ea typeface="League Spartan" charset="0"/>
              <a:cs typeface="Poppins" pitchFamily="2" charset="77"/>
            </a:endParaRPr>
          </a:p>
        </p:txBody>
      </p:sp>
      <p:sp>
        <p:nvSpPr>
          <p:cNvPr id="23" name="Subtitle 2">
            <a:extLst>
              <a:ext uri="{FF2B5EF4-FFF2-40B4-BE49-F238E27FC236}">
                <a16:creationId xmlns:a16="http://schemas.microsoft.com/office/drawing/2014/main" id="{561BC3E3-3B5F-478D-131A-48F37E9E36B8}"/>
              </a:ext>
            </a:extLst>
          </p:cNvPr>
          <p:cNvSpPr txBox="1">
            <a:spLocks/>
          </p:cNvSpPr>
          <p:nvPr/>
        </p:nvSpPr>
        <p:spPr>
          <a:xfrm>
            <a:off x="10078869" y="3510912"/>
            <a:ext cx="930138" cy="20548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s-PE" sz="800" noProof="0" dirty="0">
                <a:solidFill>
                  <a:schemeClr val="tx1"/>
                </a:solidFill>
                <a:latin typeface="Fira Sans Light" panose="020B0403050000020004" pitchFamily="34" charset="0"/>
                <a:ea typeface="Open Sans Light" panose="020B0306030504020204" pitchFamily="34" charset="0"/>
                <a:cs typeface="Open Sans Light" panose="020B0306030504020204" pitchFamily="34" charset="0"/>
              </a:rPr>
              <a:t>Convoca </a:t>
            </a:r>
            <a:r>
              <a:rPr lang="es-PE" sz="800" noProof="0" dirty="0" err="1">
                <a:solidFill>
                  <a:schemeClr val="tx1"/>
                </a:solidFill>
                <a:latin typeface="Fira Sans Light" panose="020B0403050000020004" pitchFamily="34" charset="0"/>
                <a:ea typeface="Open Sans Light" panose="020B0306030504020204" pitchFamily="34" charset="0"/>
                <a:cs typeface="Open Sans Light" panose="020B0306030504020204" pitchFamily="34" charset="0"/>
              </a:rPr>
              <a:t>Kick</a:t>
            </a:r>
            <a:r>
              <a:rPr lang="es-PE" sz="800" noProof="0" dirty="0">
                <a:solidFill>
                  <a:schemeClr val="tx1"/>
                </a:solidFill>
                <a:latin typeface="Fira Sans Light" panose="020B0403050000020004" pitchFamily="34" charset="0"/>
                <a:ea typeface="Open Sans Light" panose="020B0306030504020204" pitchFamily="34" charset="0"/>
                <a:cs typeface="Open Sans Light" panose="020B0306030504020204" pitchFamily="34" charset="0"/>
              </a:rPr>
              <a:t>-Off</a:t>
            </a:r>
          </a:p>
        </p:txBody>
      </p:sp>
      <p:sp>
        <p:nvSpPr>
          <p:cNvPr id="26" name="TextBox 37">
            <a:extLst>
              <a:ext uri="{FF2B5EF4-FFF2-40B4-BE49-F238E27FC236}">
                <a16:creationId xmlns:a16="http://schemas.microsoft.com/office/drawing/2014/main" id="{81E7D28C-79CE-6979-5EE6-A09042918644}"/>
              </a:ext>
            </a:extLst>
          </p:cNvPr>
          <p:cNvSpPr txBox="1"/>
          <p:nvPr/>
        </p:nvSpPr>
        <p:spPr>
          <a:xfrm>
            <a:off x="6979080" y="3138763"/>
            <a:ext cx="1156403" cy="246221"/>
          </a:xfrm>
          <a:prstGeom prst="rect">
            <a:avLst/>
          </a:prstGeom>
          <a:noFill/>
        </p:spPr>
        <p:txBody>
          <a:bodyPr wrap="square" rtlCol="0" anchor="ctr" anchorCtr="0">
            <a:spAutoFit/>
          </a:bodyPr>
          <a:lstStyle/>
          <a:p>
            <a:pPr algn="ctr"/>
            <a:r>
              <a:rPr lang="es-PE" sz="1000" b="1" noProof="0" dirty="0" err="1">
                <a:solidFill>
                  <a:schemeClr val="tx2"/>
                </a:solidFill>
                <a:latin typeface="Fira Sans" panose="020B0503050000020004" pitchFamily="34" charset="0"/>
                <a:ea typeface="League Spartan" charset="0"/>
                <a:cs typeface="Poppins" pitchFamily="2" charset="77"/>
              </a:rPr>
              <a:t>Product</a:t>
            </a:r>
            <a:r>
              <a:rPr lang="es-PE" sz="1000" b="1" noProof="0" dirty="0">
                <a:solidFill>
                  <a:schemeClr val="tx2"/>
                </a:solidFill>
                <a:latin typeface="Fira Sans" panose="020B0503050000020004" pitchFamily="34" charset="0"/>
                <a:ea typeface="League Spartan" charset="0"/>
                <a:cs typeface="Poppins" pitchFamily="2" charset="77"/>
              </a:rPr>
              <a:t> </a:t>
            </a:r>
            <a:r>
              <a:rPr lang="es-PE" sz="1000" b="1" noProof="0" dirty="0" err="1">
                <a:solidFill>
                  <a:schemeClr val="tx2"/>
                </a:solidFill>
                <a:latin typeface="Fira Sans" panose="020B0503050000020004" pitchFamily="34" charset="0"/>
                <a:ea typeface="League Spartan" charset="0"/>
                <a:cs typeface="Poppins" pitchFamily="2" charset="77"/>
              </a:rPr>
              <a:t>Owner</a:t>
            </a:r>
            <a:endParaRPr lang="es-PE" sz="1000" b="1" noProof="0" dirty="0">
              <a:solidFill>
                <a:schemeClr val="tx2"/>
              </a:solidFill>
              <a:latin typeface="Fira Sans" panose="020B0503050000020004" pitchFamily="34" charset="0"/>
              <a:ea typeface="League Spartan" charset="0"/>
              <a:cs typeface="Poppins" pitchFamily="2" charset="77"/>
            </a:endParaRPr>
          </a:p>
        </p:txBody>
      </p:sp>
      <p:sp>
        <p:nvSpPr>
          <p:cNvPr id="27" name="Subtitle 2">
            <a:extLst>
              <a:ext uri="{FF2B5EF4-FFF2-40B4-BE49-F238E27FC236}">
                <a16:creationId xmlns:a16="http://schemas.microsoft.com/office/drawing/2014/main" id="{3A20A429-C2BA-3AF0-D6A7-CA311A4FDFEE}"/>
              </a:ext>
            </a:extLst>
          </p:cNvPr>
          <p:cNvSpPr txBox="1">
            <a:spLocks/>
          </p:cNvSpPr>
          <p:nvPr/>
        </p:nvSpPr>
        <p:spPr>
          <a:xfrm>
            <a:off x="7043028" y="3362362"/>
            <a:ext cx="1134418" cy="69793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s-PE" sz="800" noProof="0" dirty="0">
                <a:solidFill>
                  <a:schemeClr val="tx1"/>
                </a:solidFill>
                <a:latin typeface="Fira Sans Light" panose="020B0403050000020004" pitchFamily="34" charset="0"/>
                <a:ea typeface="Open Sans Light" panose="020B0306030504020204" pitchFamily="34" charset="0"/>
                <a:cs typeface="Open Sans Light" panose="020B0306030504020204" pitchFamily="34" charset="0"/>
              </a:rPr>
              <a:t>Aprueba Documento de Especificación </a:t>
            </a:r>
            <a:r>
              <a:rPr lang="es-PE" sz="800" dirty="0">
                <a:solidFill>
                  <a:schemeClr val="tx1"/>
                </a:solidFill>
                <a:latin typeface="Fira Sans Light" panose="020B0403050000020004" pitchFamily="34" charset="0"/>
                <a:ea typeface="Open Sans Light" panose="020B0306030504020204" pitchFamily="34" charset="0"/>
                <a:cs typeface="Open Sans Light" panose="020B0306030504020204" pitchFamily="34" charset="0"/>
              </a:rPr>
              <a:t>de Requerimientos (Diccionario de Datos y reglas de Calidad)</a:t>
            </a:r>
            <a:endParaRPr lang="es-PE" sz="800" noProof="0" dirty="0">
              <a:solidFill>
                <a:schemeClr val="tx1"/>
              </a:solidFill>
              <a:latin typeface="Fira Sans Light" panose="020B0403050000020004" pitchFamily="34" charset="0"/>
              <a:ea typeface="Open Sans Light" panose="020B0306030504020204" pitchFamily="34" charset="0"/>
              <a:cs typeface="Open Sans Light" panose="020B0306030504020204" pitchFamily="34" charset="0"/>
            </a:endParaRPr>
          </a:p>
        </p:txBody>
      </p:sp>
      <p:sp>
        <p:nvSpPr>
          <p:cNvPr id="33" name="TextBox 37">
            <a:extLst>
              <a:ext uri="{FF2B5EF4-FFF2-40B4-BE49-F238E27FC236}">
                <a16:creationId xmlns:a16="http://schemas.microsoft.com/office/drawing/2014/main" id="{8CA17312-DB9E-B376-3237-41441E0413FF}"/>
              </a:ext>
            </a:extLst>
          </p:cNvPr>
          <p:cNvSpPr txBox="1"/>
          <p:nvPr/>
        </p:nvSpPr>
        <p:spPr>
          <a:xfrm>
            <a:off x="4387931" y="4985428"/>
            <a:ext cx="1308141" cy="246221"/>
          </a:xfrm>
          <a:prstGeom prst="rect">
            <a:avLst/>
          </a:prstGeom>
          <a:noFill/>
        </p:spPr>
        <p:txBody>
          <a:bodyPr wrap="square" rtlCol="0" anchor="ctr" anchorCtr="0">
            <a:spAutoFit/>
          </a:bodyPr>
          <a:lstStyle/>
          <a:p>
            <a:pPr algn="ctr"/>
            <a:r>
              <a:rPr lang="es-PE" sz="1000" b="1" noProof="0" dirty="0">
                <a:solidFill>
                  <a:schemeClr val="tx2"/>
                </a:solidFill>
                <a:latin typeface="Fira Sans" panose="020B0503050000020004" pitchFamily="34" charset="0"/>
                <a:ea typeface="League Spartan" charset="0"/>
                <a:cs typeface="Poppins" pitchFamily="2" charset="77"/>
              </a:rPr>
              <a:t>P</a:t>
            </a:r>
            <a:r>
              <a:rPr lang="es-PE" sz="1000" b="1" dirty="0" err="1">
                <a:solidFill>
                  <a:schemeClr val="tx2"/>
                </a:solidFill>
                <a:latin typeface="Fira Sans" panose="020B0503050000020004" pitchFamily="34" charset="0"/>
                <a:ea typeface="League Spartan" charset="0"/>
                <a:cs typeface="Poppins" pitchFamily="2" charset="77"/>
              </a:rPr>
              <a:t>roduct</a:t>
            </a:r>
            <a:r>
              <a:rPr lang="es-PE" sz="1000" b="1" dirty="0">
                <a:solidFill>
                  <a:schemeClr val="tx2"/>
                </a:solidFill>
                <a:latin typeface="Fira Sans" panose="020B0503050000020004" pitchFamily="34" charset="0"/>
                <a:ea typeface="League Spartan" charset="0"/>
                <a:cs typeface="Poppins" pitchFamily="2" charset="77"/>
              </a:rPr>
              <a:t> </a:t>
            </a:r>
            <a:r>
              <a:rPr lang="es-PE" sz="1000" b="1" dirty="0" err="1">
                <a:solidFill>
                  <a:schemeClr val="tx2"/>
                </a:solidFill>
                <a:latin typeface="Fira Sans" panose="020B0503050000020004" pitchFamily="34" charset="0"/>
                <a:ea typeface="League Spartan" charset="0"/>
                <a:cs typeface="Poppins" pitchFamily="2" charset="77"/>
              </a:rPr>
              <a:t>Owner</a:t>
            </a:r>
            <a:endParaRPr lang="es-PE" sz="1000" b="1" dirty="0">
              <a:solidFill>
                <a:schemeClr val="tx2"/>
              </a:solidFill>
              <a:latin typeface="Fira Sans" panose="020B0503050000020004" pitchFamily="34" charset="0"/>
              <a:cs typeface="Poppins" pitchFamily="2" charset="77"/>
            </a:endParaRPr>
          </a:p>
        </p:txBody>
      </p:sp>
      <p:sp>
        <p:nvSpPr>
          <p:cNvPr id="34" name="Subtitle 2">
            <a:extLst>
              <a:ext uri="{FF2B5EF4-FFF2-40B4-BE49-F238E27FC236}">
                <a16:creationId xmlns:a16="http://schemas.microsoft.com/office/drawing/2014/main" id="{256204B2-DDB1-0CFB-E244-D060B44EB9DF}"/>
              </a:ext>
            </a:extLst>
          </p:cNvPr>
          <p:cNvSpPr txBox="1">
            <a:spLocks/>
          </p:cNvSpPr>
          <p:nvPr/>
        </p:nvSpPr>
        <p:spPr>
          <a:xfrm>
            <a:off x="4644613" y="5231741"/>
            <a:ext cx="805298" cy="57481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s-PE" sz="800" noProof="0" dirty="0">
                <a:solidFill>
                  <a:schemeClr val="tx1"/>
                </a:solidFill>
                <a:latin typeface="Fira Sans Light" panose="020B0403050000020004" pitchFamily="34" charset="0"/>
                <a:ea typeface="Open Sans Light" panose="020B0306030504020204" pitchFamily="34" charset="0"/>
                <a:cs typeface="Open Sans Light" panose="020B0306030504020204" pitchFamily="34" charset="0"/>
              </a:rPr>
              <a:t>Conformidad pruebas para Pase a Producción</a:t>
            </a:r>
          </a:p>
        </p:txBody>
      </p:sp>
      <p:grpSp>
        <p:nvGrpSpPr>
          <p:cNvPr id="42" name="Group 68">
            <a:extLst>
              <a:ext uri="{FF2B5EF4-FFF2-40B4-BE49-F238E27FC236}">
                <a16:creationId xmlns:a16="http://schemas.microsoft.com/office/drawing/2014/main" id="{F73D5444-7C4A-9E55-5AB3-7FF4023CAB65}"/>
              </a:ext>
            </a:extLst>
          </p:cNvPr>
          <p:cNvGrpSpPr/>
          <p:nvPr/>
        </p:nvGrpSpPr>
        <p:grpSpPr>
          <a:xfrm>
            <a:off x="6903312" y="4196493"/>
            <a:ext cx="1065463" cy="987814"/>
            <a:chOff x="3642400" y="2375071"/>
            <a:chExt cx="1852228" cy="1852228"/>
          </a:xfrm>
        </p:grpSpPr>
        <p:sp>
          <p:nvSpPr>
            <p:cNvPr id="43" name="Oval 4">
              <a:extLst>
                <a:ext uri="{FF2B5EF4-FFF2-40B4-BE49-F238E27FC236}">
                  <a16:creationId xmlns:a16="http://schemas.microsoft.com/office/drawing/2014/main" id="{E52F1DFF-1EE7-3BC0-AE81-059DC410843C}"/>
                </a:ext>
              </a:extLst>
            </p:cNvPr>
            <p:cNvSpPr/>
            <p:nvPr/>
          </p:nvSpPr>
          <p:spPr>
            <a:xfrm>
              <a:off x="3642400" y="2375071"/>
              <a:ext cx="1852228" cy="1852228"/>
            </a:xfrm>
            <a:prstGeom prst="ellipse">
              <a:avLst/>
            </a:prstGeom>
            <a:gradFill>
              <a:gsLst>
                <a:gs pos="0">
                  <a:schemeClr val="bg1"/>
                </a:gs>
                <a:gs pos="100000">
                  <a:srgbClr val="E9693B"/>
                </a:gs>
                <a:gs pos="53000">
                  <a:srgbClr val="E9693B"/>
                </a:gs>
              </a:gsLst>
              <a:lin ang="5400000" scaled="1"/>
            </a:gradFill>
            <a:ln>
              <a:solidFill>
                <a:srgbClr val="E9693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675" noProof="0">
                <a:latin typeface="Fira Sans Light" panose="020B0403050000020004" pitchFamily="34" charset="0"/>
              </a:endParaRPr>
            </a:p>
          </p:txBody>
        </p:sp>
        <p:sp>
          <p:nvSpPr>
            <p:cNvPr id="44" name="Oval 59">
              <a:extLst>
                <a:ext uri="{FF2B5EF4-FFF2-40B4-BE49-F238E27FC236}">
                  <a16:creationId xmlns:a16="http://schemas.microsoft.com/office/drawing/2014/main" id="{9D7E379B-23DE-AA60-33CE-722CE7557A7F}"/>
                </a:ext>
              </a:extLst>
            </p:cNvPr>
            <p:cNvSpPr/>
            <p:nvPr/>
          </p:nvSpPr>
          <p:spPr>
            <a:xfrm>
              <a:off x="3754346" y="2490193"/>
              <a:ext cx="1615953" cy="1615953"/>
            </a:xfrm>
            <a:prstGeom prst="ellipse">
              <a:avLst/>
            </a:prstGeom>
            <a:solidFill>
              <a:schemeClr val="bg1"/>
            </a:solidFill>
            <a:ln>
              <a:solidFill>
                <a:srgbClr val="E9693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675" noProof="0">
                <a:latin typeface="Fira Sans Light" panose="020B0403050000020004" pitchFamily="34" charset="0"/>
              </a:endParaRPr>
            </a:p>
          </p:txBody>
        </p:sp>
      </p:grpSp>
      <p:sp>
        <p:nvSpPr>
          <p:cNvPr id="45" name="TextBox 45">
            <a:extLst>
              <a:ext uri="{FF2B5EF4-FFF2-40B4-BE49-F238E27FC236}">
                <a16:creationId xmlns:a16="http://schemas.microsoft.com/office/drawing/2014/main" id="{F3C3FE33-2F76-A77B-A86F-054ADE6E37F3}"/>
              </a:ext>
            </a:extLst>
          </p:cNvPr>
          <p:cNvSpPr txBox="1"/>
          <p:nvPr/>
        </p:nvSpPr>
        <p:spPr>
          <a:xfrm>
            <a:off x="6971187" y="4513147"/>
            <a:ext cx="922976" cy="369332"/>
          </a:xfrm>
          <a:prstGeom prst="rect">
            <a:avLst/>
          </a:prstGeom>
          <a:noFill/>
        </p:spPr>
        <p:txBody>
          <a:bodyPr wrap="square" rtlCol="0" anchor="ctr" anchorCtr="0">
            <a:spAutoFit/>
          </a:bodyPr>
          <a:lstStyle/>
          <a:p>
            <a:pPr algn="ctr"/>
            <a:r>
              <a:rPr lang="es-PE" sz="900" b="1" noProof="0" dirty="0">
                <a:solidFill>
                  <a:schemeClr val="tx1">
                    <a:lumMod val="75000"/>
                    <a:lumOff val="25000"/>
                  </a:schemeClr>
                </a:solidFill>
                <a:latin typeface="Fira Sans" panose="020B0503050000020004" pitchFamily="34" charset="0"/>
                <a:ea typeface="League Spartan" charset="0"/>
                <a:cs typeface="Poppins" pitchFamily="2" charset="77"/>
              </a:rPr>
              <a:t>Inicio de Pase a Producción</a:t>
            </a:r>
          </a:p>
        </p:txBody>
      </p:sp>
      <p:sp>
        <p:nvSpPr>
          <p:cNvPr id="53" name="Rectángulo 52">
            <a:extLst>
              <a:ext uri="{FF2B5EF4-FFF2-40B4-BE49-F238E27FC236}">
                <a16:creationId xmlns:a16="http://schemas.microsoft.com/office/drawing/2014/main" id="{DA6BC75E-A3B3-122C-07EB-D955D2B5603C}"/>
              </a:ext>
            </a:extLst>
          </p:cNvPr>
          <p:cNvSpPr/>
          <p:nvPr/>
        </p:nvSpPr>
        <p:spPr>
          <a:xfrm>
            <a:off x="1267507" y="6055621"/>
            <a:ext cx="8936909" cy="73529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grpSp>
        <p:nvGrpSpPr>
          <p:cNvPr id="59" name="Grupo 58">
            <a:extLst>
              <a:ext uri="{FF2B5EF4-FFF2-40B4-BE49-F238E27FC236}">
                <a16:creationId xmlns:a16="http://schemas.microsoft.com/office/drawing/2014/main" id="{832E9438-47C4-3E1E-4B2F-408C53405280}"/>
              </a:ext>
            </a:extLst>
          </p:cNvPr>
          <p:cNvGrpSpPr/>
          <p:nvPr/>
        </p:nvGrpSpPr>
        <p:grpSpPr>
          <a:xfrm>
            <a:off x="3674336" y="2672001"/>
            <a:ext cx="490884" cy="492443"/>
            <a:chOff x="4338875" y="1422627"/>
            <a:chExt cx="1156404" cy="987814"/>
          </a:xfrm>
        </p:grpSpPr>
        <p:grpSp>
          <p:nvGrpSpPr>
            <p:cNvPr id="60" name="Group 67">
              <a:extLst>
                <a:ext uri="{FF2B5EF4-FFF2-40B4-BE49-F238E27FC236}">
                  <a16:creationId xmlns:a16="http://schemas.microsoft.com/office/drawing/2014/main" id="{BE5C7DC4-A609-4FFE-008B-BFB3CAD68034}"/>
                </a:ext>
              </a:extLst>
            </p:cNvPr>
            <p:cNvGrpSpPr/>
            <p:nvPr/>
          </p:nvGrpSpPr>
          <p:grpSpPr>
            <a:xfrm>
              <a:off x="4338875" y="1422627"/>
              <a:ext cx="1156404" cy="987814"/>
              <a:chOff x="10148408" y="2375071"/>
              <a:chExt cx="1852228" cy="1852228"/>
            </a:xfrm>
          </p:grpSpPr>
          <p:sp>
            <p:nvSpPr>
              <p:cNvPr id="62" name="Oval 7">
                <a:extLst>
                  <a:ext uri="{FF2B5EF4-FFF2-40B4-BE49-F238E27FC236}">
                    <a16:creationId xmlns:a16="http://schemas.microsoft.com/office/drawing/2014/main" id="{61026F63-C638-71C4-063A-673CFCF7F515}"/>
                  </a:ext>
                </a:extLst>
              </p:cNvPr>
              <p:cNvSpPr/>
              <p:nvPr/>
            </p:nvSpPr>
            <p:spPr>
              <a:xfrm>
                <a:off x="10148408" y="2375071"/>
                <a:ext cx="1852228" cy="1852228"/>
              </a:xfrm>
              <a:prstGeom prst="ellipse">
                <a:avLst/>
              </a:prstGeom>
              <a:solidFill>
                <a:srgbClr val="E969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675" noProof="0">
                  <a:latin typeface="Fira Sans Light" panose="020B0403050000020004" pitchFamily="34" charset="0"/>
                </a:endParaRPr>
              </a:p>
            </p:txBody>
          </p:sp>
          <p:sp>
            <p:nvSpPr>
              <p:cNvPr id="63" name="Oval 61">
                <a:extLst>
                  <a:ext uri="{FF2B5EF4-FFF2-40B4-BE49-F238E27FC236}">
                    <a16:creationId xmlns:a16="http://schemas.microsoft.com/office/drawing/2014/main" id="{700C8CA1-F532-FC66-3C29-50E9E5B5CD8F}"/>
                  </a:ext>
                </a:extLst>
              </p:cNvPr>
              <p:cNvSpPr/>
              <p:nvPr/>
            </p:nvSpPr>
            <p:spPr>
              <a:xfrm>
                <a:off x="10266546" y="2490193"/>
                <a:ext cx="1615953" cy="16159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675" noProof="0">
                  <a:latin typeface="Fira Sans Light" panose="020B0403050000020004" pitchFamily="34" charset="0"/>
                </a:endParaRPr>
              </a:p>
            </p:txBody>
          </p:sp>
        </p:grpSp>
        <p:sp>
          <p:nvSpPr>
            <p:cNvPr id="61" name="Freeform 18">
              <a:extLst>
                <a:ext uri="{FF2B5EF4-FFF2-40B4-BE49-F238E27FC236}">
                  <a16:creationId xmlns:a16="http://schemas.microsoft.com/office/drawing/2014/main" id="{E693F361-A759-15D0-6F74-E0ECBF22CE30}"/>
                </a:ext>
              </a:extLst>
            </p:cNvPr>
            <p:cNvSpPr>
              <a:spLocks noChangeArrowheads="1"/>
            </p:cNvSpPr>
            <p:nvPr/>
          </p:nvSpPr>
          <p:spPr bwMode="auto">
            <a:xfrm>
              <a:off x="4682811" y="1715222"/>
              <a:ext cx="459853" cy="357027"/>
            </a:xfrm>
            <a:custGeom>
              <a:avLst/>
              <a:gdLst>
                <a:gd name="connsiteX0" fmla="*/ 176895 w 736553"/>
                <a:gd name="connsiteY0" fmla="*/ 422865 h 669451"/>
                <a:gd name="connsiteX1" fmla="*/ 27449 w 736553"/>
                <a:gd name="connsiteY1" fmla="*/ 641882 h 669451"/>
                <a:gd name="connsiteX2" fmla="*/ 709104 w 736553"/>
                <a:gd name="connsiteY2" fmla="*/ 641882 h 669451"/>
                <a:gd name="connsiteX3" fmla="*/ 562708 w 736553"/>
                <a:gd name="connsiteY3" fmla="*/ 422865 h 669451"/>
                <a:gd name="connsiteX4" fmla="*/ 369039 w 736553"/>
                <a:gd name="connsiteY4" fmla="*/ 530076 h 669451"/>
                <a:gd name="connsiteX5" fmla="*/ 176895 w 736553"/>
                <a:gd name="connsiteY5" fmla="*/ 422865 h 669451"/>
                <a:gd name="connsiteX6" fmla="*/ 184710 w 736553"/>
                <a:gd name="connsiteY6" fmla="*/ 392042 h 669451"/>
                <a:gd name="connsiteX7" fmla="*/ 192144 w 736553"/>
                <a:gd name="connsiteY7" fmla="*/ 399891 h 669451"/>
                <a:gd name="connsiteX8" fmla="*/ 369039 w 736553"/>
                <a:gd name="connsiteY8" fmla="*/ 502508 h 669451"/>
                <a:gd name="connsiteX9" fmla="*/ 544409 w 736553"/>
                <a:gd name="connsiteY9" fmla="*/ 399891 h 669451"/>
                <a:gd name="connsiteX10" fmla="*/ 562708 w 736553"/>
                <a:gd name="connsiteY10" fmla="*/ 392233 h 669451"/>
                <a:gd name="connsiteX11" fmla="*/ 736553 w 736553"/>
                <a:gd name="connsiteY11" fmla="*/ 654135 h 669451"/>
                <a:gd name="connsiteX12" fmla="*/ 733503 w 736553"/>
                <a:gd name="connsiteY12" fmla="*/ 663324 h 669451"/>
                <a:gd name="connsiteX13" fmla="*/ 724354 w 736553"/>
                <a:gd name="connsiteY13" fmla="*/ 669451 h 669451"/>
                <a:gd name="connsiteX14" fmla="*/ 13725 w 736553"/>
                <a:gd name="connsiteY14" fmla="*/ 669451 h 669451"/>
                <a:gd name="connsiteX15" fmla="*/ 3050 w 736553"/>
                <a:gd name="connsiteY15" fmla="*/ 663324 h 669451"/>
                <a:gd name="connsiteX16" fmla="*/ 0 w 736553"/>
                <a:gd name="connsiteY16" fmla="*/ 654135 h 669451"/>
                <a:gd name="connsiteX17" fmla="*/ 173845 w 736553"/>
                <a:gd name="connsiteY17" fmla="*/ 392233 h 669451"/>
                <a:gd name="connsiteX18" fmla="*/ 184710 w 736553"/>
                <a:gd name="connsiteY18" fmla="*/ 392042 h 669451"/>
                <a:gd name="connsiteX19" fmla="*/ 369037 w 736553"/>
                <a:gd name="connsiteY19" fmla="*/ 27467 h 669451"/>
                <a:gd name="connsiteX20" fmla="*/ 241946 w 736553"/>
                <a:gd name="connsiteY20" fmla="*/ 155649 h 669451"/>
                <a:gd name="connsiteX21" fmla="*/ 241946 w 736553"/>
                <a:gd name="connsiteY21" fmla="*/ 299091 h 669451"/>
                <a:gd name="connsiteX22" fmla="*/ 369037 w 736553"/>
                <a:gd name="connsiteY22" fmla="*/ 427274 h 669451"/>
                <a:gd name="connsiteX23" fmla="*/ 497641 w 736553"/>
                <a:gd name="connsiteY23" fmla="*/ 299091 h 669451"/>
                <a:gd name="connsiteX24" fmla="*/ 497641 w 736553"/>
                <a:gd name="connsiteY24" fmla="*/ 155649 h 669451"/>
                <a:gd name="connsiteX25" fmla="*/ 369037 w 736553"/>
                <a:gd name="connsiteY25" fmla="*/ 27467 h 669451"/>
                <a:gd name="connsiteX26" fmla="*/ 369037 w 736553"/>
                <a:gd name="connsiteY26" fmla="*/ 0 h 669451"/>
                <a:gd name="connsiteX27" fmla="*/ 521849 w 736553"/>
                <a:gd name="connsiteY27" fmla="*/ 155649 h 669451"/>
                <a:gd name="connsiteX28" fmla="*/ 521849 w 736553"/>
                <a:gd name="connsiteY28" fmla="*/ 299091 h 669451"/>
                <a:gd name="connsiteX29" fmla="*/ 369037 w 736553"/>
                <a:gd name="connsiteY29" fmla="*/ 454741 h 669451"/>
                <a:gd name="connsiteX30" fmla="*/ 214712 w 736553"/>
                <a:gd name="connsiteY30" fmla="*/ 299091 h 669451"/>
                <a:gd name="connsiteX31" fmla="*/ 214712 w 736553"/>
                <a:gd name="connsiteY31" fmla="*/ 155649 h 669451"/>
                <a:gd name="connsiteX32" fmla="*/ 369037 w 736553"/>
                <a:gd name="connsiteY32" fmla="*/ 0 h 669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36553" h="669451">
                  <a:moveTo>
                    <a:pt x="176895" y="422865"/>
                  </a:moveTo>
                  <a:cubicBezTo>
                    <a:pt x="51849" y="485660"/>
                    <a:pt x="30499" y="602061"/>
                    <a:pt x="27449" y="641882"/>
                  </a:cubicBezTo>
                  <a:lnTo>
                    <a:pt x="709104" y="641882"/>
                  </a:lnTo>
                  <a:cubicBezTo>
                    <a:pt x="706054" y="602061"/>
                    <a:pt x="684705" y="485660"/>
                    <a:pt x="562708" y="422865"/>
                  </a:cubicBezTo>
                  <a:cubicBezTo>
                    <a:pt x="521535" y="488723"/>
                    <a:pt x="446812" y="530076"/>
                    <a:pt x="369039" y="530076"/>
                  </a:cubicBezTo>
                  <a:cubicBezTo>
                    <a:pt x="291266" y="530076"/>
                    <a:pt x="218069" y="488723"/>
                    <a:pt x="176895" y="422865"/>
                  </a:cubicBezTo>
                  <a:close/>
                  <a:moveTo>
                    <a:pt x="184710" y="392042"/>
                  </a:moveTo>
                  <a:cubicBezTo>
                    <a:pt x="187951" y="393382"/>
                    <a:pt x="190619" y="396062"/>
                    <a:pt x="192144" y="399891"/>
                  </a:cubicBezTo>
                  <a:cubicBezTo>
                    <a:pt x="228743" y="464218"/>
                    <a:pt x="295841" y="502508"/>
                    <a:pt x="369039" y="502508"/>
                  </a:cubicBezTo>
                  <a:cubicBezTo>
                    <a:pt x="440712" y="502508"/>
                    <a:pt x="509335" y="464218"/>
                    <a:pt x="544409" y="399891"/>
                  </a:cubicBezTo>
                  <a:cubicBezTo>
                    <a:pt x="548984" y="392233"/>
                    <a:pt x="556609" y="389170"/>
                    <a:pt x="562708" y="392233"/>
                  </a:cubicBezTo>
                  <a:cubicBezTo>
                    <a:pt x="735028" y="471876"/>
                    <a:pt x="736553" y="652603"/>
                    <a:pt x="736553" y="654135"/>
                  </a:cubicBezTo>
                  <a:cubicBezTo>
                    <a:pt x="736553" y="660261"/>
                    <a:pt x="736553" y="661793"/>
                    <a:pt x="733503" y="663324"/>
                  </a:cubicBezTo>
                  <a:cubicBezTo>
                    <a:pt x="730453" y="666387"/>
                    <a:pt x="727403" y="669451"/>
                    <a:pt x="724354" y="669451"/>
                  </a:cubicBezTo>
                  <a:lnTo>
                    <a:pt x="13725" y="669451"/>
                  </a:lnTo>
                  <a:cubicBezTo>
                    <a:pt x="9150" y="669451"/>
                    <a:pt x="6100" y="666387"/>
                    <a:pt x="3050" y="663324"/>
                  </a:cubicBezTo>
                  <a:cubicBezTo>
                    <a:pt x="1525" y="661793"/>
                    <a:pt x="0" y="660261"/>
                    <a:pt x="0" y="654135"/>
                  </a:cubicBezTo>
                  <a:cubicBezTo>
                    <a:pt x="0" y="652603"/>
                    <a:pt x="1525" y="471876"/>
                    <a:pt x="173845" y="392233"/>
                  </a:cubicBezTo>
                  <a:cubicBezTo>
                    <a:pt x="177657" y="390702"/>
                    <a:pt x="181470" y="390702"/>
                    <a:pt x="184710" y="392042"/>
                  </a:cubicBezTo>
                  <a:close/>
                  <a:moveTo>
                    <a:pt x="369037" y="27467"/>
                  </a:moveTo>
                  <a:cubicBezTo>
                    <a:pt x="297927" y="27467"/>
                    <a:pt x="241946" y="85454"/>
                    <a:pt x="241946" y="155649"/>
                  </a:cubicBezTo>
                  <a:lnTo>
                    <a:pt x="241946" y="299091"/>
                  </a:lnTo>
                  <a:cubicBezTo>
                    <a:pt x="241946" y="369286"/>
                    <a:pt x="297927" y="427274"/>
                    <a:pt x="369037" y="427274"/>
                  </a:cubicBezTo>
                  <a:cubicBezTo>
                    <a:pt x="438635" y="427274"/>
                    <a:pt x="497641" y="369286"/>
                    <a:pt x="497641" y="299091"/>
                  </a:cubicBezTo>
                  <a:lnTo>
                    <a:pt x="497641" y="155649"/>
                  </a:lnTo>
                  <a:cubicBezTo>
                    <a:pt x="497641" y="85454"/>
                    <a:pt x="438635" y="27467"/>
                    <a:pt x="369037" y="27467"/>
                  </a:cubicBezTo>
                  <a:close/>
                  <a:moveTo>
                    <a:pt x="369037" y="0"/>
                  </a:moveTo>
                  <a:cubicBezTo>
                    <a:pt x="453765" y="0"/>
                    <a:pt x="521849" y="70195"/>
                    <a:pt x="521849" y="155649"/>
                  </a:cubicBezTo>
                  <a:lnTo>
                    <a:pt x="521849" y="299091"/>
                  </a:lnTo>
                  <a:cubicBezTo>
                    <a:pt x="521849" y="383020"/>
                    <a:pt x="453765" y="454741"/>
                    <a:pt x="369037" y="454741"/>
                  </a:cubicBezTo>
                  <a:cubicBezTo>
                    <a:pt x="284310" y="454741"/>
                    <a:pt x="214712" y="383020"/>
                    <a:pt x="214712" y="299091"/>
                  </a:cubicBezTo>
                  <a:lnTo>
                    <a:pt x="214712" y="155649"/>
                  </a:lnTo>
                  <a:cubicBezTo>
                    <a:pt x="214712" y="70195"/>
                    <a:pt x="284310" y="0"/>
                    <a:pt x="369037" y="0"/>
                  </a:cubicBezTo>
                  <a:close/>
                </a:path>
              </a:pathLst>
            </a:custGeom>
            <a:solidFill>
              <a:srgbClr val="E9693B"/>
            </a:solidFill>
            <a:ln>
              <a:noFill/>
            </a:ln>
            <a:effectLst/>
          </p:spPr>
          <p:txBody>
            <a:bodyPr wrap="square" anchor="ctr">
              <a:noAutofit/>
            </a:bodyPr>
            <a:lstStyle/>
            <a:p>
              <a:endParaRPr lang="es-PE" sz="2700" noProof="0">
                <a:solidFill>
                  <a:schemeClr val="tx2"/>
                </a:solidFill>
                <a:latin typeface="Fira Sans Light" panose="020B0403050000020004" pitchFamily="34" charset="0"/>
              </a:endParaRPr>
            </a:p>
          </p:txBody>
        </p:sp>
      </p:grpSp>
      <p:sp>
        <p:nvSpPr>
          <p:cNvPr id="52" name="Rectángulo 51">
            <a:extLst>
              <a:ext uri="{FF2B5EF4-FFF2-40B4-BE49-F238E27FC236}">
                <a16:creationId xmlns:a16="http://schemas.microsoft.com/office/drawing/2014/main" id="{08ADF1D5-F965-1ECC-2CF2-9B375B855C18}"/>
              </a:ext>
            </a:extLst>
          </p:cNvPr>
          <p:cNvSpPr/>
          <p:nvPr/>
        </p:nvSpPr>
        <p:spPr>
          <a:xfrm>
            <a:off x="40203" y="4926266"/>
            <a:ext cx="4054221" cy="181415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pic>
        <p:nvPicPr>
          <p:cNvPr id="64" name="Imagen 63">
            <a:extLst>
              <a:ext uri="{FF2B5EF4-FFF2-40B4-BE49-F238E27FC236}">
                <a16:creationId xmlns:a16="http://schemas.microsoft.com/office/drawing/2014/main" id="{7D9A2939-6F8D-2E31-4C70-85F89948F22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27043" y="2720781"/>
            <a:ext cx="382321" cy="382321"/>
          </a:xfrm>
          <a:prstGeom prst="rect">
            <a:avLst/>
          </a:prstGeom>
        </p:spPr>
      </p:pic>
      <p:pic>
        <p:nvPicPr>
          <p:cNvPr id="65" name="Imagen 64">
            <a:extLst>
              <a:ext uri="{FF2B5EF4-FFF2-40B4-BE49-F238E27FC236}">
                <a16:creationId xmlns:a16="http://schemas.microsoft.com/office/drawing/2014/main" id="{91762C68-9658-C627-FC22-A18E7ED5667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72422" y="2476480"/>
            <a:ext cx="226987" cy="226987"/>
          </a:xfrm>
          <a:prstGeom prst="rect">
            <a:avLst/>
          </a:prstGeom>
        </p:spPr>
      </p:pic>
      <p:grpSp>
        <p:nvGrpSpPr>
          <p:cNvPr id="66" name="Grupo 65">
            <a:extLst>
              <a:ext uri="{FF2B5EF4-FFF2-40B4-BE49-F238E27FC236}">
                <a16:creationId xmlns:a16="http://schemas.microsoft.com/office/drawing/2014/main" id="{E1C348B8-8FBC-12B1-4DA7-8DE1AD42E1DE}"/>
              </a:ext>
            </a:extLst>
          </p:cNvPr>
          <p:cNvGrpSpPr/>
          <p:nvPr/>
        </p:nvGrpSpPr>
        <p:grpSpPr>
          <a:xfrm>
            <a:off x="8465569" y="2618328"/>
            <a:ext cx="490884" cy="492443"/>
            <a:chOff x="4338875" y="1422627"/>
            <a:chExt cx="1156404" cy="987814"/>
          </a:xfrm>
        </p:grpSpPr>
        <p:grpSp>
          <p:nvGrpSpPr>
            <p:cNvPr id="67" name="Group 67">
              <a:extLst>
                <a:ext uri="{FF2B5EF4-FFF2-40B4-BE49-F238E27FC236}">
                  <a16:creationId xmlns:a16="http://schemas.microsoft.com/office/drawing/2014/main" id="{B5606F50-B3F0-CA73-3154-E67A7B104670}"/>
                </a:ext>
              </a:extLst>
            </p:cNvPr>
            <p:cNvGrpSpPr/>
            <p:nvPr/>
          </p:nvGrpSpPr>
          <p:grpSpPr>
            <a:xfrm>
              <a:off x="4338875" y="1422627"/>
              <a:ext cx="1156404" cy="987814"/>
              <a:chOff x="10148408" y="2375071"/>
              <a:chExt cx="1852228" cy="1852228"/>
            </a:xfrm>
          </p:grpSpPr>
          <p:sp>
            <p:nvSpPr>
              <p:cNvPr id="69" name="Oval 7">
                <a:extLst>
                  <a:ext uri="{FF2B5EF4-FFF2-40B4-BE49-F238E27FC236}">
                    <a16:creationId xmlns:a16="http://schemas.microsoft.com/office/drawing/2014/main" id="{8F499536-F58C-8326-E55B-C60E3E703C2C}"/>
                  </a:ext>
                </a:extLst>
              </p:cNvPr>
              <p:cNvSpPr/>
              <p:nvPr/>
            </p:nvSpPr>
            <p:spPr>
              <a:xfrm>
                <a:off x="10148408" y="2375071"/>
                <a:ext cx="1852228" cy="1852228"/>
              </a:xfrm>
              <a:prstGeom prst="ellipse">
                <a:avLst/>
              </a:prstGeom>
              <a:solidFill>
                <a:srgbClr val="E969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675" noProof="0">
                  <a:latin typeface="Fira Sans Light" panose="020B0403050000020004" pitchFamily="34" charset="0"/>
                </a:endParaRPr>
              </a:p>
            </p:txBody>
          </p:sp>
          <p:sp>
            <p:nvSpPr>
              <p:cNvPr id="70" name="Oval 61">
                <a:extLst>
                  <a:ext uri="{FF2B5EF4-FFF2-40B4-BE49-F238E27FC236}">
                    <a16:creationId xmlns:a16="http://schemas.microsoft.com/office/drawing/2014/main" id="{36C0B939-6E40-6B5C-F50F-88E297D61D6E}"/>
                  </a:ext>
                </a:extLst>
              </p:cNvPr>
              <p:cNvSpPr/>
              <p:nvPr/>
            </p:nvSpPr>
            <p:spPr>
              <a:xfrm>
                <a:off x="10266546" y="2490193"/>
                <a:ext cx="1615953" cy="16159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675" noProof="0">
                  <a:latin typeface="Fira Sans Light" panose="020B0403050000020004" pitchFamily="34" charset="0"/>
                </a:endParaRPr>
              </a:p>
            </p:txBody>
          </p:sp>
        </p:grpSp>
        <p:sp>
          <p:nvSpPr>
            <p:cNvPr id="68" name="Freeform 18">
              <a:extLst>
                <a:ext uri="{FF2B5EF4-FFF2-40B4-BE49-F238E27FC236}">
                  <a16:creationId xmlns:a16="http://schemas.microsoft.com/office/drawing/2014/main" id="{766ABAF3-CD64-836E-8E17-E30DD175E6DB}"/>
                </a:ext>
              </a:extLst>
            </p:cNvPr>
            <p:cNvSpPr>
              <a:spLocks noChangeArrowheads="1"/>
            </p:cNvSpPr>
            <p:nvPr/>
          </p:nvSpPr>
          <p:spPr bwMode="auto">
            <a:xfrm>
              <a:off x="4682811" y="1715222"/>
              <a:ext cx="459853" cy="357027"/>
            </a:xfrm>
            <a:custGeom>
              <a:avLst/>
              <a:gdLst>
                <a:gd name="connsiteX0" fmla="*/ 176895 w 736553"/>
                <a:gd name="connsiteY0" fmla="*/ 422865 h 669451"/>
                <a:gd name="connsiteX1" fmla="*/ 27449 w 736553"/>
                <a:gd name="connsiteY1" fmla="*/ 641882 h 669451"/>
                <a:gd name="connsiteX2" fmla="*/ 709104 w 736553"/>
                <a:gd name="connsiteY2" fmla="*/ 641882 h 669451"/>
                <a:gd name="connsiteX3" fmla="*/ 562708 w 736553"/>
                <a:gd name="connsiteY3" fmla="*/ 422865 h 669451"/>
                <a:gd name="connsiteX4" fmla="*/ 369039 w 736553"/>
                <a:gd name="connsiteY4" fmla="*/ 530076 h 669451"/>
                <a:gd name="connsiteX5" fmla="*/ 176895 w 736553"/>
                <a:gd name="connsiteY5" fmla="*/ 422865 h 669451"/>
                <a:gd name="connsiteX6" fmla="*/ 184710 w 736553"/>
                <a:gd name="connsiteY6" fmla="*/ 392042 h 669451"/>
                <a:gd name="connsiteX7" fmla="*/ 192144 w 736553"/>
                <a:gd name="connsiteY7" fmla="*/ 399891 h 669451"/>
                <a:gd name="connsiteX8" fmla="*/ 369039 w 736553"/>
                <a:gd name="connsiteY8" fmla="*/ 502508 h 669451"/>
                <a:gd name="connsiteX9" fmla="*/ 544409 w 736553"/>
                <a:gd name="connsiteY9" fmla="*/ 399891 h 669451"/>
                <a:gd name="connsiteX10" fmla="*/ 562708 w 736553"/>
                <a:gd name="connsiteY10" fmla="*/ 392233 h 669451"/>
                <a:gd name="connsiteX11" fmla="*/ 736553 w 736553"/>
                <a:gd name="connsiteY11" fmla="*/ 654135 h 669451"/>
                <a:gd name="connsiteX12" fmla="*/ 733503 w 736553"/>
                <a:gd name="connsiteY12" fmla="*/ 663324 h 669451"/>
                <a:gd name="connsiteX13" fmla="*/ 724354 w 736553"/>
                <a:gd name="connsiteY13" fmla="*/ 669451 h 669451"/>
                <a:gd name="connsiteX14" fmla="*/ 13725 w 736553"/>
                <a:gd name="connsiteY14" fmla="*/ 669451 h 669451"/>
                <a:gd name="connsiteX15" fmla="*/ 3050 w 736553"/>
                <a:gd name="connsiteY15" fmla="*/ 663324 h 669451"/>
                <a:gd name="connsiteX16" fmla="*/ 0 w 736553"/>
                <a:gd name="connsiteY16" fmla="*/ 654135 h 669451"/>
                <a:gd name="connsiteX17" fmla="*/ 173845 w 736553"/>
                <a:gd name="connsiteY17" fmla="*/ 392233 h 669451"/>
                <a:gd name="connsiteX18" fmla="*/ 184710 w 736553"/>
                <a:gd name="connsiteY18" fmla="*/ 392042 h 669451"/>
                <a:gd name="connsiteX19" fmla="*/ 369037 w 736553"/>
                <a:gd name="connsiteY19" fmla="*/ 27467 h 669451"/>
                <a:gd name="connsiteX20" fmla="*/ 241946 w 736553"/>
                <a:gd name="connsiteY20" fmla="*/ 155649 h 669451"/>
                <a:gd name="connsiteX21" fmla="*/ 241946 w 736553"/>
                <a:gd name="connsiteY21" fmla="*/ 299091 h 669451"/>
                <a:gd name="connsiteX22" fmla="*/ 369037 w 736553"/>
                <a:gd name="connsiteY22" fmla="*/ 427274 h 669451"/>
                <a:gd name="connsiteX23" fmla="*/ 497641 w 736553"/>
                <a:gd name="connsiteY23" fmla="*/ 299091 h 669451"/>
                <a:gd name="connsiteX24" fmla="*/ 497641 w 736553"/>
                <a:gd name="connsiteY24" fmla="*/ 155649 h 669451"/>
                <a:gd name="connsiteX25" fmla="*/ 369037 w 736553"/>
                <a:gd name="connsiteY25" fmla="*/ 27467 h 669451"/>
                <a:gd name="connsiteX26" fmla="*/ 369037 w 736553"/>
                <a:gd name="connsiteY26" fmla="*/ 0 h 669451"/>
                <a:gd name="connsiteX27" fmla="*/ 521849 w 736553"/>
                <a:gd name="connsiteY27" fmla="*/ 155649 h 669451"/>
                <a:gd name="connsiteX28" fmla="*/ 521849 w 736553"/>
                <a:gd name="connsiteY28" fmla="*/ 299091 h 669451"/>
                <a:gd name="connsiteX29" fmla="*/ 369037 w 736553"/>
                <a:gd name="connsiteY29" fmla="*/ 454741 h 669451"/>
                <a:gd name="connsiteX30" fmla="*/ 214712 w 736553"/>
                <a:gd name="connsiteY30" fmla="*/ 299091 h 669451"/>
                <a:gd name="connsiteX31" fmla="*/ 214712 w 736553"/>
                <a:gd name="connsiteY31" fmla="*/ 155649 h 669451"/>
                <a:gd name="connsiteX32" fmla="*/ 369037 w 736553"/>
                <a:gd name="connsiteY32" fmla="*/ 0 h 669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36553" h="669451">
                  <a:moveTo>
                    <a:pt x="176895" y="422865"/>
                  </a:moveTo>
                  <a:cubicBezTo>
                    <a:pt x="51849" y="485660"/>
                    <a:pt x="30499" y="602061"/>
                    <a:pt x="27449" y="641882"/>
                  </a:cubicBezTo>
                  <a:lnTo>
                    <a:pt x="709104" y="641882"/>
                  </a:lnTo>
                  <a:cubicBezTo>
                    <a:pt x="706054" y="602061"/>
                    <a:pt x="684705" y="485660"/>
                    <a:pt x="562708" y="422865"/>
                  </a:cubicBezTo>
                  <a:cubicBezTo>
                    <a:pt x="521535" y="488723"/>
                    <a:pt x="446812" y="530076"/>
                    <a:pt x="369039" y="530076"/>
                  </a:cubicBezTo>
                  <a:cubicBezTo>
                    <a:pt x="291266" y="530076"/>
                    <a:pt x="218069" y="488723"/>
                    <a:pt x="176895" y="422865"/>
                  </a:cubicBezTo>
                  <a:close/>
                  <a:moveTo>
                    <a:pt x="184710" y="392042"/>
                  </a:moveTo>
                  <a:cubicBezTo>
                    <a:pt x="187951" y="393382"/>
                    <a:pt x="190619" y="396062"/>
                    <a:pt x="192144" y="399891"/>
                  </a:cubicBezTo>
                  <a:cubicBezTo>
                    <a:pt x="228743" y="464218"/>
                    <a:pt x="295841" y="502508"/>
                    <a:pt x="369039" y="502508"/>
                  </a:cubicBezTo>
                  <a:cubicBezTo>
                    <a:pt x="440712" y="502508"/>
                    <a:pt x="509335" y="464218"/>
                    <a:pt x="544409" y="399891"/>
                  </a:cubicBezTo>
                  <a:cubicBezTo>
                    <a:pt x="548984" y="392233"/>
                    <a:pt x="556609" y="389170"/>
                    <a:pt x="562708" y="392233"/>
                  </a:cubicBezTo>
                  <a:cubicBezTo>
                    <a:pt x="735028" y="471876"/>
                    <a:pt x="736553" y="652603"/>
                    <a:pt x="736553" y="654135"/>
                  </a:cubicBezTo>
                  <a:cubicBezTo>
                    <a:pt x="736553" y="660261"/>
                    <a:pt x="736553" y="661793"/>
                    <a:pt x="733503" y="663324"/>
                  </a:cubicBezTo>
                  <a:cubicBezTo>
                    <a:pt x="730453" y="666387"/>
                    <a:pt x="727403" y="669451"/>
                    <a:pt x="724354" y="669451"/>
                  </a:cubicBezTo>
                  <a:lnTo>
                    <a:pt x="13725" y="669451"/>
                  </a:lnTo>
                  <a:cubicBezTo>
                    <a:pt x="9150" y="669451"/>
                    <a:pt x="6100" y="666387"/>
                    <a:pt x="3050" y="663324"/>
                  </a:cubicBezTo>
                  <a:cubicBezTo>
                    <a:pt x="1525" y="661793"/>
                    <a:pt x="0" y="660261"/>
                    <a:pt x="0" y="654135"/>
                  </a:cubicBezTo>
                  <a:cubicBezTo>
                    <a:pt x="0" y="652603"/>
                    <a:pt x="1525" y="471876"/>
                    <a:pt x="173845" y="392233"/>
                  </a:cubicBezTo>
                  <a:cubicBezTo>
                    <a:pt x="177657" y="390702"/>
                    <a:pt x="181470" y="390702"/>
                    <a:pt x="184710" y="392042"/>
                  </a:cubicBezTo>
                  <a:close/>
                  <a:moveTo>
                    <a:pt x="369037" y="27467"/>
                  </a:moveTo>
                  <a:cubicBezTo>
                    <a:pt x="297927" y="27467"/>
                    <a:pt x="241946" y="85454"/>
                    <a:pt x="241946" y="155649"/>
                  </a:cubicBezTo>
                  <a:lnTo>
                    <a:pt x="241946" y="299091"/>
                  </a:lnTo>
                  <a:cubicBezTo>
                    <a:pt x="241946" y="369286"/>
                    <a:pt x="297927" y="427274"/>
                    <a:pt x="369037" y="427274"/>
                  </a:cubicBezTo>
                  <a:cubicBezTo>
                    <a:pt x="438635" y="427274"/>
                    <a:pt x="497641" y="369286"/>
                    <a:pt x="497641" y="299091"/>
                  </a:cubicBezTo>
                  <a:lnTo>
                    <a:pt x="497641" y="155649"/>
                  </a:lnTo>
                  <a:cubicBezTo>
                    <a:pt x="497641" y="85454"/>
                    <a:pt x="438635" y="27467"/>
                    <a:pt x="369037" y="27467"/>
                  </a:cubicBezTo>
                  <a:close/>
                  <a:moveTo>
                    <a:pt x="369037" y="0"/>
                  </a:moveTo>
                  <a:cubicBezTo>
                    <a:pt x="453765" y="0"/>
                    <a:pt x="521849" y="70195"/>
                    <a:pt x="521849" y="155649"/>
                  </a:cubicBezTo>
                  <a:lnTo>
                    <a:pt x="521849" y="299091"/>
                  </a:lnTo>
                  <a:cubicBezTo>
                    <a:pt x="521849" y="383020"/>
                    <a:pt x="453765" y="454741"/>
                    <a:pt x="369037" y="454741"/>
                  </a:cubicBezTo>
                  <a:cubicBezTo>
                    <a:pt x="284310" y="454741"/>
                    <a:pt x="214712" y="383020"/>
                    <a:pt x="214712" y="299091"/>
                  </a:cubicBezTo>
                  <a:lnTo>
                    <a:pt x="214712" y="155649"/>
                  </a:lnTo>
                  <a:cubicBezTo>
                    <a:pt x="214712" y="70195"/>
                    <a:pt x="284310" y="0"/>
                    <a:pt x="369037" y="0"/>
                  </a:cubicBezTo>
                  <a:close/>
                </a:path>
              </a:pathLst>
            </a:custGeom>
            <a:solidFill>
              <a:srgbClr val="E9693B"/>
            </a:solidFill>
            <a:ln>
              <a:noFill/>
            </a:ln>
            <a:effectLst/>
          </p:spPr>
          <p:txBody>
            <a:bodyPr wrap="square" anchor="ctr">
              <a:noAutofit/>
            </a:bodyPr>
            <a:lstStyle/>
            <a:p>
              <a:endParaRPr lang="es-PE" sz="2700" noProof="0">
                <a:solidFill>
                  <a:schemeClr val="tx2"/>
                </a:solidFill>
                <a:latin typeface="Fira Sans Light" panose="020B0403050000020004" pitchFamily="34" charset="0"/>
              </a:endParaRPr>
            </a:p>
          </p:txBody>
        </p:sp>
      </p:grpSp>
      <p:pic>
        <p:nvPicPr>
          <p:cNvPr id="71" name="Imagen 70">
            <a:extLst>
              <a:ext uri="{FF2B5EF4-FFF2-40B4-BE49-F238E27FC236}">
                <a16:creationId xmlns:a16="http://schemas.microsoft.com/office/drawing/2014/main" id="{B2FC8577-7C9E-AB28-CD73-AC35875778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18276" y="2667108"/>
            <a:ext cx="382321" cy="382321"/>
          </a:xfrm>
          <a:prstGeom prst="rect">
            <a:avLst/>
          </a:prstGeom>
        </p:spPr>
      </p:pic>
      <p:grpSp>
        <p:nvGrpSpPr>
          <p:cNvPr id="72" name="Group 68">
            <a:extLst>
              <a:ext uri="{FF2B5EF4-FFF2-40B4-BE49-F238E27FC236}">
                <a16:creationId xmlns:a16="http://schemas.microsoft.com/office/drawing/2014/main" id="{2BDD6FE3-D7AE-5BFA-C416-944980062772}"/>
              </a:ext>
            </a:extLst>
          </p:cNvPr>
          <p:cNvGrpSpPr/>
          <p:nvPr/>
        </p:nvGrpSpPr>
        <p:grpSpPr>
          <a:xfrm>
            <a:off x="10659523" y="3591988"/>
            <a:ext cx="1156404" cy="987814"/>
            <a:chOff x="3642400" y="2375071"/>
            <a:chExt cx="1852228" cy="1852228"/>
          </a:xfrm>
        </p:grpSpPr>
        <p:sp>
          <p:nvSpPr>
            <p:cNvPr id="73" name="Oval 4">
              <a:extLst>
                <a:ext uri="{FF2B5EF4-FFF2-40B4-BE49-F238E27FC236}">
                  <a16:creationId xmlns:a16="http://schemas.microsoft.com/office/drawing/2014/main" id="{C494BB8F-FD77-4C43-5409-617E187EE2F8}"/>
                </a:ext>
              </a:extLst>
            </p:cNvPr>
            <p:cNvSpPr/>
            <p:nvPr/>
          </p:nvSpPr>
          <p:spPr>
            <a:xfrm>
              <a:off x="3642400" y="2375071"/>
              <a:ext cx="1852228" cy="1852228"/>
            </a:xfrm>
            <a:prstGeom prst="ellipse">
              <a:avLst/>
            </a:prstGeom>
            <a:gradFill>
              <a:gsLst>
                <a:gs pos="0">
                  <a:schemeClr val="bg1"/>
                </a:gs>
                <a:gs pos="100000">
                  <a:srgbClr val="E9693B"/>
                </a:gs>
                <a:gs pos="53000">
                  <a:srgbClr val="E9693B"/>
                </a:gs>
              </a:gsLst>
              <a:lin ang="5400000" scaled="1"/>
            </a:gradFill>
            <a:ln>
              <a:solidFill>
                <a:srgbClr val="E9693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675" noProof="0">
                <a:latin typeface="Fira Sans Light" panose="020B0403050000020004" pitchFamily="34" charset="0"/>
              </a:endParaRPr>
            </a:p>
          </p:txBody>
        </p:sp>
        <p:sp>
          <p:nvSpPr>
            <p:cNvPr id="74" name="Oval 59">
              <a:extLst>
                <a:ext uri="{FF2B5EF4-FFF2-40B4-BE49-F238E27FC236}">
                  <a16:creationId xmlns:a16="http://schemas.microsoft.com/office/drawing/2014/main" id="{7C3D461C-DA8F-2A5C-27C7-C86F5E357CA9}"/>
                </a:ext>
              </a:extLst>
            </p:cNvPr>
            <p:cNvSpPr/>
            <p:nvPr/>
          </p:nvSpPr>
          <p:spPr>
            <a:xfrm>
              <a:off x="3754347" y="2490193"/>
              <a:ext cx="1615953" cy="1615953"/>
            </a:xfrm>
            <a:prstGeom prst="ellipse">
              <a:avLst/>
            </a:prstGeom>
            <a:solidFill>
              <a:schemeClr val="bg1"/>
            </a:solidFill>
            <a:ln>
              <a:solidFill>
                <a:srgbClr val="E9693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675" noProof="0">
                <a:latin typeface="Fira Sans Light" panose="020B0403050000020004" pitchFamily="34" charset="0"/>
              </a:endParaRPr>
            </a:p>
          </p:txBody>
        </p:sp>
      </p:grpSp>
      <p:sp>
        <p:nvSpPr>
          <p:cNvPr id="75" name="TextBox 45">
            <a:extLst>
              <a:ext uri="{FF2B5EF4-FFF2-40B4-BE49-F238E27FC236}">
                <a16:creationId xmlns:a16="http://schemas.microsoft.com/office/drawing/2014/main" id="{F874FA79-7726-F5B3-4DAE-C103908D005B}"/>
              </a:ext>
            </a:extLst>
          </p:cNvPr>
          <p:cNvSpPr txBox="1"/>
          <p:nvPr/>
        </p:nvSpPr>
        <p:spPr>
          <a:xfrm>
            <a:off x="10654529" y="3826963"/>
            <a:ext cx="1134418" cy="507831"/>
          </a:xfrm>
          <a:prstGeom prst="rect">
            <a:avLst/>
          </a:prstGeom>
          <a:noFill/>
        </p:spPr>
        <p:txBody>
          <a:bodyPr wrap="square" rtlCol="0" anchor="ctr" anchorCtr="0">
            <a:spAutoFit/>
          </a:bodyPr>
          <a:lstStyle/>
          <a:p>
            <a:pPr algn="ctr"/>
            <a:r>
              <a:rPr lang="es-PE" sz="900" b="1" noProof="0" dirty="0">
                <a:solidFill>
                  <a:schemeClr val="tx1">
                    <a:lumMod val="75000"/>
                    <a:lumOff val="25000"/>
                  </a:schemeClr>
                </a:solidFill>
                <a:latin typeface="Fira Sans" panose="020B0503050000020004" pitchFamily="34" charset="0"/>
                <a:ea typeface="League Spartan" charset="0"/>
                <a:cs typeface="Poppins" pitchFamily="2" charset="77"/>
              </a:rPr>
              <a:t>Inicio del </a:t>
            </a:r>
            <a:r>
              <a:rPr lang="es-PE" sz="900" b="1" dirty="0">
                <a:solidFill>
                  <a:schemeClr val="tx1">
                    <a:lumMod val="75000"/>
                    <a:lumOff val="25000"/>
                  </a:schemeClr>
                </a:solidFill>
                <a:latin typeface="Fira Sans" panose="020B0503050000020004" pitchFamily="34" charset="0"/>
                <a:ea typeface="League Spartan" charset="0"/>
                <a:cs typeface="Poppins" pitchFamily="2" charset="77"/>
              </a:rPr>
              <a:t>desarrollo del</a:t>
            </a:r>
            <a:r>
              <a:rPr lang="es-PE" sz="900" b="1" noProof="0" dirty="0">
                <a:solidFill>
                  <a:schemeClr val="tx1">
                    <a:lumMod val="75000"/>
                    <a:lumOff val="25000"/>
                  </a:schemeClr>
                </a:solidFill>
                <a:latin typeface="Fira Sans" panose="020B0503050000020004" pitchFamily="34" charset="0"/>
                <a:ea typeface="League Spartan" charset="0"/>
                <a:cs typeface="Poppins" pitchFamily="2" charset="77"/>
              </a:rPr>
              <a:t> Proyecto </a:t>
            </a:r>
          </a:p>
        </p:txBody>
      </p:sp>
      <p:grpSp>
        <p:nvGrpSpPr>
          <p:cNvPr id="76" name="Grupo 75">
            <a:extLst>
              <a:ext uri="{FF2B5EF4-FFF2-40B4-BE49-F238E27FC236}">
                <a16:creationId xmlns:a16="http://schemas.microsoft.com/office/drawing/2014/main" id="{80C871BE-129D-82DE-AA1B-4AF9ADB5F700}"/>
              </a:ext>
            </a:extLst>
          </p:cNvPr>
          <p:cNvGrpSpPr/>
          <p:nvPr/>
        </p:nvGrpSpPr>
        <p:grpSpPr>
          <a:xfrm>
            <a:off x="10385262" y="2788200"/>
            <a:ext cx="490884" cy="492443"/>
            <a:chOff x="4338875" y="1422627"/>
            <a:chExt cx="1156404" cy="987814"/>
          </a:xfrm>
        </p:grpSpPr>
        <p:grpSp>
          <p:nvGrpSpPr>
            <p:cNvPr id="77" name="Group 67">
              <a:extLst>
                <a:ext uri="{FF2B5EF4-FFF2-40B4-BE49-F238E27FC236}">
                  <a16:creationId xmlns:a16="http://schemas.microsoft.com/office/drawing/2014/main" id="{A21C4F28-9360-C2E1-67C0-0228479EE3BB}"/>
                </a:ext>
              </a:extLst>
            </p:cNvPr>
            <p:cNvGrpSpPr/>
            <p:nvPr/>
          </p:nvGrpSpPr>
          <p:grpSpPr>
            <a:xfrm>
              <a:off x="4338875" y="1422627"/>
              <a:ext cx="1156404" cy="987814"/>
              <a:chOff x="10148408" y="2375071"/>
              <a:chExt cx="1852228" cy="1852228"/>
            </a:xfrm>
          </p:grpSpPr>
          <p:sp>
            <p:nvSpPr>
              <p:cNvPr id="79" name="Oval 7">
                <a:extLst>
                  <a:ext uri="{FF2B5EF4-FFF2-40B4-BE49-F238E27FC236}">
                    <a16:creationId xmlns:a16="http://schemas.microsoft.com/office/drawing/2014/main" id="{956BD623-C547-9F21-DE09-1C1E0C141369}"/>
                  </a:ext>
                </a:extLst>
              </p:cNvPr>
              <p:cNvSpPr/>
              <p:nvPr/>
            </p:nvSpPr>
            <p:spPr>
              <a:xfrm>
                <a:off x="10148408" y="2375071"/>
                <a:ext cx="1852228" cy="1852228"/>
              </a:xfrm>
              <a:prstGeom prst="ellipse">
                <a:avLst/>
              </a:prstGeom>
              <a:solidFill>
                <a:srgbClr val="E969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675" noProof="0">
                  <a:latin typeface="Fira Sans Light" panose="020B0403050000020004" pitchFamily="34" charset="0"/>
                </a:endParaRPr>
              </a:p>
            </p:txBody>
          </p:sp>
          <p:sp>
            <p:nvSpPr>
              <p:cNvPr id="80" name="Oval 61">
                <a:extLst>
                  <a:ext uri="{FF2B5EF4-FFF2-40B4-BE49-F238E27FC236}">
                    <a16:creationId xmlns:a16="http://schemas.microsoft.com/office/drawing/2014/main" id="{6C1087EC-66EB-F7A7-2AD7-ED5ADAD6BA3B}"/>
                  </a:ext>
                </a:extLst>
              </p:cNvPr>
              <p:cNvSpPr/>
              <p:nvPr/>
            </p:nvSpPr>
            <p:spPr>
              <a:xfrm>
                <a:off x="10266546" y="2490193"/>
                <a:ext cx="1615953" cy="16159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675" noProof="0">
                  <a:latin typeface="Fira Sans Light" panose="020B0403050000020004" pitchFamily="34" charset="0"/>
                </a:endParaRPr>
              </a:p>
            </p:txBody>
          </p:sp>
        </p:grpSp>
        <p:sp>
          <p:nvSpPr>
            <p:cNvPr id="78" name="Freeform 18">
              <a:extLst>
                <a:ext uri="{FF2B5EF4-FFF2-40B4-BE49-F238E27FC236}">
                  <a16:creationId xmlns:a16="http://schemas.microsoft.com/office/drawing/2014/main" id="{D6BE0CDC-08D0-707C-92B6-7B0D0358301D}"/>
                </a:ext>
              </a:extLst>
            </p:cNvPr>
            <p:cNvSpPr>
              <a:spLocks noChangeArrowheads="1"/>
            </p:cNvSpPr>
            <p:nvPr/>
          </p:nvSpPr>
          <p:spPr bwMode="auto">
            <a:xfrm>
              <a:off x="4682811" y="1715222"/>
              <a:ext cx="459853" cy="357027"/>
            </a:xfrm>
            <a:custGeom>
              <a:avLst/>
              <a:gdLst>
                <a:gd name="connsiteX0" fmla="*/ 176895 w 736553"/>
                <a:gd name="connsiteY0" fmla="*/ 422865 h 669451"/>
                <a:gd name="connsiteX1" fmla="*/ 27449 w 736553"/>
                <a:gd name="connsiteY1" fmla="*/ 641882 h 669451"/>
                <a:gd name="connsiteX2" fmla="*/ 709104 w 736553"/>
                <a:gd name="connsiteY2" fmla="*/ 641882 h 669451"/>
                <a:gd name="connsiteX3" fmla="*/ 562708 w 736553"/>
                <a:gd name="connsiteY3" fmla="*/ 422865 h 669451"/>
                <a:gd name="connsiteX4" fmla="*/ 369039 w 736553"/>
                <a:gd name="connsiteY4" fmla="*/ 530076 h 669451"/>
                <a:gd name="connsiteX5" fmla="*/ 176895 w 736553"/>
                <a:gd name="connsiteY5" fmla="*/ 422865 h 669451"/>
                <a:gd name="connsiteX6" fmla="*/ 184710 w 736553"/>
                <a:gd name="connsiteY6" fmla="*/ 392042 h 669451"/>
                <a:gd name="connsiteX7" fmla="*/ 192144 w 736553"/>
                <a:gd name="connsiteY7" fmla="*/ 399891 h 669451"/>
                <a:gd name="connsiteX8" fmla="*/ 369039 w 736553"/>
                <a:gd name="connsiteY8" fmla="*/ 502508 h 669451"/>
                <a:gd name="connsiteX9" fmla="*/ 544409 w 736553"/>
                <a:gd name="connsiteY9" fmla="*/ 399891 h 669451"/>
                <a:gd name="connsiteX10" fmla="*/ 562708 w 736553"/>
                <a:gd name="connsiteY10" fmla="*/ 392233 h 669451"/>
                <a:gd name="connsiteX11" fmla="*/ 736553 w 736553"/>
                <a:gd name="connsiteY11" fmla="*/ 654135 h 669451"/>
                <a:gd name="connsiteX12" fmla="*/ 733503 w 736553"/>
                <a:gd name="connsiteY12" fmla="*/ 663324 h 669451"/>
                <a:gd name="connsiteX13" fmla="*/ 724354 w 736553"/>
                <a:gd name="connsiteY13" fmla="*/ 669451 h 669451"/>
                <a:gd name="connsiteX14" fmla="*/ 13725 w 736553"/>
                <a:gd name="connsiteY14" fmla="*/ 669451 h 669451"/>
                <a:gd name="connsiteX15" fmla="*/ 3050 w 736553"/>
                <a:gd name="connsiteY15" fmla="*/ 663324 h 669451"/>
                <a:gd name="connsiteX16" fmla="*/ 0 w 736553"/>
                <a:gd name="connsiteY16" fmla="*/ 654135 h 669451"/>
                <a:gd name="connsiteX17" fmla="*/ 173845 w 736553"/>
                <a:gd name="connsiteY17" fmla="*/ 392233 h 669451"/>
                <a:gd name="connsiteX18" fmla="*/ 184710 w 736553"/>
                <a:gd name="connsiteY18" fmla="*/ 392042 h 669451"/>
                <a:gd name="connsiteX19" fmla="*/ 369037 w 736553"/>
                <a:gd name="connsiteY19" fmla="*/ 27467 h 669451"/>
                <a:gd name="connsiteX20" fmla="*/ 241946 w 736553"/>
                <a:gd name="connsiteY20" fmla="*/ 155649 h 669451"/>
                <a:gd name="connsiteX21" fmla="*/ 241946 w 736553"/>
                <a:gd name="connsiteY21" fmla="*/ 299091 h 669451"/>
                <a:gd name="connsiteX22" fmla="*/ 369037 w 736553"/>
                <a:gd name="connsiteY22" fmla="*/ 427274 h 669451"/>
                <a:gd name="connsiteX23" fmla="*/ 497641 w 736553"/>
                <a:gd name="connsiteY23" fmla="*/ 299091 h 669451"/>
                <a:gd name="connsiteX24" fmla="*/ 497641 w 736553"/>
                <a:gd name="connsiteY24" fmla="*/ 155649 h 669451"/>
                <a:gd name="connsiteX25" fmla="*/ 369037 w 736553"/>
                <a:gd name="connsiteY25" fmla="*/ 27467 h 669451"/>
                <a:gd name="connsiteX26" fmla="*/ 369037 w 736553"/>
                <a:gd name="connsiteY26" fmla="*/ 0 h 669451"/>
                <a:gd name="connsiteX27" fmla="*/ 521849 w 736553"/>
                <a:gd name="connsiteY27" fmla="*/ 155649 h 669451"/>
                <a:gd name="connsiteX28" fmla="*/ 521849 w 736553"/>
                <a:gd name="connsiteY28" fmla="*/ 299091 h 669451"/>
                <a:gd name="connsiteX29" fmla="*/ 369037 w 736553"/>
                <a:gd name="connsiteY29" fmla="*/ 454741 h 669451"/>
                <a:gd name="connsiteX30" fmla="*/ 214712 w 736553"/>
                <a:gd name="connsiteY30" fmla="*/ 299091 h 669451"/>
                <a:gd name="connsiteX31" fmla="*/ 214712 w 736553"/>
                <a:gd name="connsiteY31" fmla="*/ 155649 h 669451"/>
                <a:gd name="connsiteX32" fmla="*/ 369037 w 736553"/>
                <a:gd name="connsiteY32" fmla="*/ 0 h 669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36553" h="669451">
                  <a:moveTo>
                    <a:pt x="176895" y="422865"/>
                  </a:moveTo>
                  <a:cubicBezTo>
                    <a:pt x="51849" y="485660"/>
                    <a:pt x="30499" y="602061"/>
                    <a:pt x="27449" y="641882"/>
                  </a:cubicBezTo>
                  <a:lnTo>
                    <a:pt x="709104" y="641882"/>
                  </a:lnTo>
                  <a:cubicBezTo>
                    <a:pt x="706054" y="602061"/>
                    <a:pt x="684705" y="485660"/>
                    <a:pt x="562708" y="422865"/>
                  </a:cubicBezTo>
                  <a:cubicBezTo>
                    <a:pt x="521535" y="488723"/>
                    <a:pt x="446812" y="530076"/>
                    <a:pt x="369039" y="530076"/>
                  </a:cubicBezTo>
                  <a:cubicBezTo>
                    <a:pt x="291266" y="530076"/>
                    <a:pt x="218069" y="488723"/>
                    <a:pt x="176895" y="422865"/>
                  </a:cubicBezTo>
                  <a:close/>
                  <a:moveTo>
                    <a:pt x="184710" y="392042"/>
                  </a:moveTo>
                  <a:cubicBezTo>
                    <a:pt x="187951" y="393382"/>
                    <a:pt x="190619" y="396062"/>
                    <a:pt x="192144" y="399891"/>
                  </a:cubicBezTo>
                  <a:cubicBezTo>
                    <a:pt x="228743" y="464218"/>
                    <a:pt x="295841" y="502508"/>
                    <a:pt x="369039" y="502508"/>
                  </a:cubicBezTo>
                  <a:cubicBezTo>
                    <a:pt x="440712" y="502508"/>
                    <a:pt x="509335" y="464218"/>
                    <a:pt x="544409" y="399891"/>
                  </a:cubicBezTo>
                  <a:cubicBezTo>
                    <a:pt x="548984" y="392233"/>
                    <a:pt x="556609" y="389170"/>
                    <a:pt x="562708" y="392233"/>
                  </a:cubicBezTo>
                  <a:cubicBezTo>
                    <a:pt x="735028" y="471876"/>
                    <a:pt x="736553" y="652603"/>
                    <a:pt x="736553" y="654135"/>
                  </a:cubicBezTo>
                  <a:cubicBezTo>
                    <a:pt x="736553" y="660261"/>
                    <a:pt x="736553" y="661793"/>
                    <a:pt x="733503" y="663324"/>
                  </a:cubicBezTo>
                  <a:cubicBezTo>
                    <a:pt x="730453" y="666387"/>
                    <a:pt x="727403" y="669451"/>
                    <a:pt x="724354" y="669451"/>
                  </a:cubicBezTo>
                  <a:lnTo>
                    <a:pt x="13725" y="669451"/>
                  </a:lnTo>
                  <a:cubicBezTo>
                    <a:pt x="9150" y="669451"/>
                    <a:pt x="6100" y="666387"/>
                    <a:pt x="3050" y="663324"/>
                  </a:cubicBezTo>
                  <a:cubicBezTo>
                    <a:pt x="1525" y="661793"/>
                    <a:pt x="0" y="660261"/>
                    <a:pt x="0" y="654135"/>
                  </a:cubicBezTo>
                  <a:cubicBezTo>
                    <a:pt x="0" y="652603"/>
                    <a:pt x="1525" y="471876"/>
                    <a:pt x="173845" y="392233"/>
                  </a:cubicBezTo>
                  <a:cubicBezTo>
                    <a:pt x="177657" y="390702"/>
                    <a:pt x="181470" y="390702"/>
                    <a:pt x="184710" y="392042"/>
                  </a:cubicBezTo>
                  <a:close/>
                  <a:moveTo>
                    <a:pt x="369037" y="27467"/>
                  </a:moveTo>
                  <a:cubicBezTo>
                    <a:pt x="297927" y="27467"/>
                    <a:pt x="241946" y="85454"/>
                    <a:pt x="241946" y="155649"/>
                  </a:cubicBezTo>
                  <a:lnTo>
                    <a:pt x="241946" y="299091"/>
                  </a:lnTo>
                  <a:cubicBezTo>
                    <a:pt x="241946" y="369286"/>
                    <a:pt x="297927" y="427274"/>
                    <a:pt x="369037" y="427274"/>
                  </a:cubicBezTo>
                  <a:cubicBezTo>
                    <a:pt x="438635" y="427274"/>
                    <a:pt x="497641" y="369286"/>
                    <a:pt x="497641" y="299091"/>
                  </a:cubicBezTo>
                  <a:lnTo>
                    <a:pt x="497641" y="155649"/>
                  </a:lnTo>
                  <a:cubicBezTo>
                    <a:pt x="497641" y="85454"/>
                    <a:pt x="438635" y="27467"/>
                    <a:pt x="369037" y="27467"/>
                  </a:cubicBezTo>
                  <a:close/>
                  <a:moveTo>
                    <a:pt x="369037" y="0"/>
                  </a:moveTo>
                  <a:cubicBezTo>
                    <a:pt x="453765" y="0"/>
                    <a:pt x="521849" y="70195"/>
                    <a:pt x="521849" y="155649"/>
                  </a:cubicBezTo>
                  <a:lnTo>
                    <a:pt x="521849" y="299091"/>
                  </a:lnTo>
                  <a:cubicBezTo>
                    <a:pt x="521849" y="383020"/>
                    <a:pt x="453765" y="454741"/>
                    <a:pt x="369037" y="454741"/>
                  </a:cubicBezTo>
                  <a:cubicBezTo>
                    <a:pt x="284310" y="454741"/>
                    <a:pt x="214712" y="383020"/>
                    <a:pt x="214712" y="299091"/>
                  </a:cubicBezTo>
                  <a:lnTo>
                    <a:pt x="214712" y="155649"/>
                  </a:lnTo>
                  <a:cubicBezTo>
                    <a:pt x="214712" y="70195"/>
                    <a:pt x="284310" y="0"/>
                    <a:pt x="369037" y="0"/>
                  </a:cubicBezTo>
                  <a:close/>
                </a:path>
              </a:pathLst>
            </a:custGeom>
            <a:solidFill>
              <a:srgbClr val="E9693B"/>
            </a:solidFill>
            <a:ln>
              <a:noFill/>
            </a:ln>
            <a:effectLst/>
          </p:spPr>
          <p:txBody>
            <a:bodyPr wrap="square" anchor="ctr">
              <a:noAutofit/>
            </a:bodyPr>
            <a:lstStyle/>
            <a:p>
              <a:endParaRPr lang="es-PE" sz="2700" noProof="0">
                <a:solidFill>
                  <a:schemeClr val="tx2"/>
                </a:solidFill>
                <a:latin typeface="Fira Sans Light" panose="020B0403050000020004" pitchFamily="34" charset="0"/>
              </a:endParaRPr>
            </a:p>
          </p:txBody>
        </p:sp>
      </p:grpSp>
      <p:pic>
        <p:nvPicPr>
          <p:cNvPr id="81" name="Imagen 80">
            <a:extLst>
              <a:ext uri="{FF2B5EF4-FFF2-40B4-BE49-F238E27FC236}">
                <a16:creationId xmlns:a16="http://schemas.microsoft.com/office/drawing/2014/main" id="{521DD65F-773A-E162-C38C-115BB76D8E6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37969" y="2836980"/>
            <a:ext cx="382321" cy="382321"/>
          </a:xfrm>
          <a:prstGeom prst="rect">
            <a:avLst/>
          </a:prstGeom>
        </p:spPr>
      </p:pic>
      <p:pic>
        <p:nvPicPr>
          <p:cNvPr id="82" name="Imagen 81">
            <a:extLst>
              <a:ext uri="{FF2B5EF4-FFF2-40B4-BE49-F238E27FC236}">
                <a16:creationId xmlns:a16="http://schemas.microsoft.com/office/drawing/2014/main" id="{FAA804A0-2E5D-A325-65FE-63B86E13467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63392" y="2429621"/>
            <a:ext cx="226987" cy="226987"/>
          </a:xfrm>
          <a:prstGeom prst="rect">
            <a:avLst/>
          </a:prstGeom>
        </p:spPr>
      </p:pic>
      <p:grpSp>
        <p:nvGrpSpPr>
          <p:cNvPr id="83" name="Grupo 82">
            <a:extLst>
              <a:ext uri="{FF2B5EF4-FFF2-40B4-BE49-F238E27FC236}">
                <a16:creationId xmlns:a16="http://schemas.microsoft.com/office/drawing/2014/main" id="{2A5E6E57-AC23-EF9F-B61B-6B6469DDD8C9}"/>
              </a:ext>
            </a:extLst>
          </p:cNvPr>
          <p:cNvGrpSpPr/>
          <p:nvPr/>
        </p:nvGrpSpPr>
        <p:grpSpPr>
          <a:xfrm>
            <a:off x="7438936" y="2599946"/>
            <a:ext cx="490884" cy="492443"/>
            <a:chOff x="4338875" y="1422627"/>
            <a:chExt cx="1156404" cy="987814"/>
          </a:xfrm>
        </p:grpSpPr>
        <p:grpSp>
          <p:nvGrpSpPr>
            <p:cNvPr id="84" name="Group 67">
              <a:extLst>
                <a:ext uri="{FF2B5EF4-FFF2-40B4-BE49-F238E27FC236}">
                  <a16:creationId xmlns:a16="http://schemas.microsoft.com/office/drawing/2014/main" id="{DA7B0C0D-7918-5E63-A5FF-2DAB33705975}"/>
                </a:ext>
              </a:extLst>
            </p:cNvPr>
            <p:cNvGrpSpPr/>
            <p:nvPr/>
          </p:nvGrpSpPr>
          <p:grpSpPr>
            <a:xfrm>
              <a:off x="4338875" y="1422627"/>
              <a:ext cx="1156404" cy="987814"/>
              <a:chOff x="10148408" y="2375071"/>
              <a:chExt cx="1852228" cy="1852228"/>
            </a:xfrm>
          </p:grpSpPr>
          <p:sp>
            <p:nvSpPr>
              <p:cNvPr id="86" name="Oval 7">
                <a:extLst>
                  <a:ext uri="{FF2B5EF4-FFF2-40B4-BE49-F238E27FC236}">
                    <a16:creationId xmlns:a16="http://schemas.microsoft.com/office/drawing/2014/main" id="{AE1757B0-4636-B57F-52AB-0A981C31BF85}"/>
                  </a:ext>
                </a:extLst>
              </p:cNvPr>
              <p:cNvSpPr/>
              <p:nvPr/>
            </p:nvSpPr>
            <p:spPr>
              <a:xfrm>
                <a:off x="10148408" y="2375071"/>
                <a:ext cx="1852228" cy="1852228"/>
              </a:xfrm>
              <a:prstGeom prst="ellipse">
                <a:avLst/>
              </a:prstGeom>
              <a:solidFill>
                <a:srgbClr val="E969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675" noProof="0">
                  <a:latin typeface="Fira Sans Light" panose="020B0403050000020004" pitchFamily="34" charset="0"/>
                </a:endParaRPr>
              </a:p>
            </p:txBody>
          </p:sp>
          <p:sp>
            <p:nvSpPr>
              <p:cNvPr id="87" name="Oval 61">
                <a:extLst>
                  <a:ext uri="{FF2B5EF4-FFF2-40B4-BE49-F238E27FC236}">
                    <a16:creationId xmlns:a16="http://schemas.microsoft.com/office/drawing/2014/main" id="{490D1B7C-482C-6FD7-363F-BB176F99D8C3}"/>
                  </a:ext>
                </a:extLst>
              </p:cNvPr>
              <p:cNvSpPr/>
              <p:nvPr/>
            </p:nvSpPr>
            <p:spPr>
              <a:xfrm>
                <a:off x="10266546" y="2490193"/>
                <a:ext cx="1615953" cy="16159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675" noProof="0">
                  <a:latin typeface="Fira Sans Light" panose="020B0403050000020004" pitchFamily="34" charset="0"/>
                </a:endParaRPr>
              </a:p>
            </p:txBody>
          </p:sp>
        </p:grpSp>
        <p:sp>
          <p:nvSpPr>
            <p:cNvPr id="85" name="Freeform 18">
              <a:extLst>
                <a:ext uri="{FF2B5EF4-FFF2-40B4-BE49-F238E27FC236}">
                  <a16:creationId xmlns:a16="http://schemas.microsoft.com/office/drawing/2014/main" id="{9DBE45A0-70F4-97B2-5B92-4FEB9ACDFF9D}"/>
                </a:ext>
              </a:extLst>
            </p:cNvPr>
            <p:cNvSpPr>
              <a:spLocks noChangeArrowheads="1"/>
            </p:cNvSpPr>
            <p:nvPr/>
          </p:nvSpPr>
          <p:spPr bwMode="auto">
            <a:xfrm>
              <a:off x="4682811" y="1715222"/>
              <a:ext cx="459853" cy="357027"/>
            </a:xfrm>
            <a:custGeom>
              <a:avLst/>
              <a:gdLst>
                <a:gd name="connsiteX0" fmla="*/ 176895 w 736553"/>
                <a:gd name="connsiteY0" fmla="*/ 422865 h 669451"/>
                <a:gd name="connsiteX1" fmla="*/ 27449 w 736553"/>
                <a:gd name="connsiteY1" fmla="*/ 641882 h 669451"/>
                <a:gd name="connsiteX2" fmla="*/ 709104 w 736553"/>
                <a:gd name="connsiteY2" fmla="*/ 641882 h 669451"/>
                <a:gd name="connsiteX3" fmla="*/ 562708 w 736553"/>
                <a:gd name="connsiteY3" fmla="*/ 422865 h 669451"/>
                <a:gd name="connsiteX4" fmla="*/ 369039 w 736553"/>
                <a:gd name="connsiteY4" fmla="*/ 530076 h 669451"/>
                <a:gd name="connsiteX5" fmla="*/ 176895 w 736553"/>
                <a:gd name="connsiteY5" fmla="*/ 422865 h 669451"/>
                <a:gd name="connsiteX6" fmla="*/ 184710 w 736553"/>
                <a:gd name="connsiteY6" fmla="*/ 392042 h 669451"/>
                <a:gd name="connsiteX7" fmla="*/ 192144 w 736553"/>
                <a:gd name="connsiteY7" fmla="*/ 399891 h 669451"/>
                <a:gd name="connsiteX8" fmla="*/ 369039 w 736553"/>
                <a:gd name="connsiteY8" fmla="*/ 502508 h 669451"/>
                <a:gd name="connsiteX9" fmla="*/ 544409 w 736553"/>
                <a:gd name="connsiteY9" fmla="*/ 399891 h 669451"/>
                <a:gd name="connsiteX10" fmla="*/ 562708 w 736553"/>
                <a:gd name="connsiteY10" fmla="*/ 392233 h 669451"/>
                <a:gd name="connsiteX11" fmla="*/ 736553 w 736553"/>
                <a:gd name="connsiteY11" fmla="*/ 654135 h 669451"/>
                <a:gd name="connsiteX12" fmla="*/ 733503 w 736553"/>
                <a:gd name="connsiteY12" fmla="*/ 663324 h 669451"/>
                <a:gd name="connsiteX13" fmla="*/ 724354 w 736553"/>
                <a:gd name="connsiteY13" fmla="*/ 669451 h 669451"/>
                <a:gd name="connsiteX14" fmla="*/ 13725 w 736553"/>
                <a:gd name="connsiteY14" fmla="*/ 669451 h 669451"/>
                <a:gd name="connsiteX15" fmla="*/ 3050 w 736553"/>
                <a:gd name="connsiteY15" fmla="*/ 663324 h 669451"/>
                <a:gd name="connsiteX16" fmla="*/ 0 w 736553"/>
                <a:gd name="connsiteY16" fmla="*/ 654135 h 669451"/>
                <a:gd name="connsiteX17" fmla="*/ 173845 w 736553"/>
                <a:gd name="connsiteY17" fmla="*/ 392233 h 669451"/>
                <a:gd name="connsiteX18" fmla="*/ 184710 w 736553"/>
                <a:gd name="connsiteY18" fmla="*/ 392042 h 669451"/>
                <a:gd name="connsiteX19" fmla="*/ 369037 w 736553"/>
                <a:gd name="connsiteY19" fmla="*/ 27467 h 669451"/>
                <a:gd name="connsiteX20" fmla="*/ 241946 w 736553"/>
                <a:gd name="connsiteY20" fmla="*/ 155649 h 669451"/>
                <a:gd name="connsiteX21" fmla="*/ 241946 w 736553"/>
                <a:gd name="connsiteY21" fmla="*/ 299091 h 669451"/>
                <a:gd name="connsiteX22" fmla="*/ 369037 w 736553"/>
                <a:gd name="connsiteY22" fmla="*/ 427274 h 669451"/>
                <a:gd name="connsiteX23" fmla="*/ 497641 w 736553"/>
                <a:gd name="connsiteY23" fmla="*/ 299091 h 669451"/>
                <a:gd name="connsiteX24" fmla="*/ 497641 w 736553"/>
                <a:gd name="connsiteY24" fmla="*/ 155649 h 669451"/>
                <a:gd name="connsiteX25" fmla="*/ 369037 w 736553"/>
                <a:gd name="connsiteY25" fmla="*/ 27467 h 669451"/>
                <a:gd name="connsiteX26" fmla="*/ 369037 w 736553"/>
                <a:gd name="connsiteY26" fmla="*/ 0 h 669451"/>
                <a:gd name="connsiteX27" fmla="*/ 521849 w 736553"/>
                <a:gd name="connsiteY27" fmla="*/ 155649 h 669451"/>
                <a:gd name="connsiteX28" fmla="*/ 521849 w 736553"/>
                <a:gd name="connsiteY28" fmla="*/ 299091 h 669451"/>
                <a:gd name="connsiteX29" fmla="*/ 369037 w 736553"/>
                <a:gd name="connsiteY29" fmla="*/ 454741 h 669451"/>
                <a:gd name="connsiteX30" fmla="*/ 214712 w 736553"/>
                <a:gd name="connsiteY30" fmla="*/ 299091 h 669451"/>
                <a:gd name="connsiteX31" fmla="*/ 214712 w 736553"/>
                <a:gd name="connsiteY31" fmla="*/ 155649 h 669451"/>
                <a:gd name="connsiteX32" fmla="*/ 369037 w 736553"/>
                <a:gd name="connsiteY32" fmla="*/ 0 h 669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36553" h="669451">
                  <a:moveTo>
                    <a:pt x="176895" y="422865"/>
                  </a:moveTo>
                  <a:cubicBezTo>
                    <a:pt x="51849" y="485660"/>
                    <a:pt x="30499" y="602061"/>
                    <a:pt x="27449" y="641882"/>
                  </a:cubicBezTo>
                  <a:lnTo>
                    <a:pt x="709104" y="641882"/>
                  </a:lnTo>
                  <a:cubicBezTo>
                    <a:pt x="706054" y="602061"/>
                    <a:pt x="684705" y="485660"/>
                    <a:pt x="562708" y="422865"/>
                  </a:cubicBezTo>
                  <a:cubicBezTo>
                    <a:pt x="521535" y="488723"/>
                    <a:pt x="446812" y="530076"/>
                    <a:pt x="369039" y="530076"/>
                  </a:cubicBezTo>
                  <a:cubicBezTo>
                    <a:pt x="291266" y="530076"/>
                    <a:pt x="218069" y="488723"/>
                    <a:pt x="176895" y="422865"/>
                  </a:cubicBezTo>
                  <a:close/>
                  <a:moveTo>
                    <a:pt x="184710" y="392042"/>
                  </a:moveTo>
                  <a:cubicBezTo>
                    <a:pt x="187951" y="393382"/>
                    <a:pt x="190619" y="396062"/>
                    <a:pt x="192144" y="399891"/>
                  </a:cubicBezTo>
                  <a:cubicBezTo>
                    <a:pt x="228743" y="464218"/>
                    <a:pt x="295841" y="502508"/>
                    <a:pt x="369039" y="502508"/>
                  </a:cubicBezTo>
                  <a:cubicBezTo>
                    <a:pt x="440712" y="502508"/>
                    <a:pt x="509335" y="464218"/>
                    <a:pt x="544409" y="399891"/>
                  </a:cubicBezTo>
                  <a:cubicBezTo>
                    <a:pt x="548984" y="392233"/>
                    <a:pt x="556609" y="389170"/>
                    <a:pt x="562708" y="392233"/>
                  </a:cubicBezTo>
                  <a:cubicBezTo>
                    <a:pt x="735028" y="471876"/>
                    <a:pt x="736553" y="652603"/>
                    <a:pt x="736553" y="654135"/>
                  </a:cubicBezTo>
                  <a:cubicBezTo>
                    <a:pt x="736553" y="660261"/>
                    <a:pt x="736553" y="661793"/>
                    <a:pt x="733503" y="663324"/>
                  </a:cubicBezTo>
                  <a:cubicBezTo>
                    <a:pt x="730453" y="666387"/>
                    <a:pt x="727403" y="669451"/>
                    <a:pt x="724354" y="669451"/>
                  </a:cubicBezTo>
                  <a:lnTo>
                    <a:pt x="13725" y="669451"/>
                  </a:lnTo>
                  <a:cubicBezTo>
                    <a:pt x="9150" y="669451"/>
                    <a:pt x="6100" y="666387"/>
                    <a:pt x="3050" y="663324"/>
                  </a:cubicBezTo>
                  <a:cubicBezTo>
                    <a:pt x="1525" y="661793"/>
                    <a:pt x="0" y="660261"/>
                    <a:pt x="0" y="654135"/>
                  </a:cubicBezTo>
                  <a:cubicBezTo>
                    <a:pt x="0" y="652603"/>
                    <a:pt x="1525" y="471876"/>
                    <a:pt x="173845" y="392233"/>
                  </a:cubicBezTo>
                  <a:cubicBezTo>
                    <a:pt x="177657" y="390702"/>
                    <a:pt x="181470" y="390702"/>
                    <a:pt x="184710" y="392042"/>
                  </a:cubicBezTo>
                  <a:close/>
                  <a:moveTo>
                    <a:pt x="369037" y="27467"/>
                  </a:moveTo>
                  <a:cubicBezTo>
                    <a:pt x="297927" y="27467"/>
                    <a:pt x="241946" y="85454"/>
                    <a:pt x="241946" y="155649"/>
                  </a:cubicBezTo>
                  <a:lnTo>
                    <a:pt x="241946" y="299091"/>
                  </a:lnTo>
                  <a:cubicBezTo>
                    <a:pt x="241946" y="369286"/>
                    <a:pt x="297927" y="427274"/>
                    <a:pt x="369037" y="427274"/>
                  </a:cubicBezTo>
                  <a:cubicBezTo>
                    <a:pt x="438635" y="427274"/>
                    <a:pt x="497641" y="369286"/>
                    <a:pt x="497641" y="299091"/>
                  </a:cubicBezTo>
                  <a:lnTo>
                    <a:pt x="497641" y="155649"/>
                  </a:lnTo>
                  <a:cubicBezTo>
                    <a:pt x="497641" y="85454"/>
                    <a:pt x="438635" y="27467"/>
                    <a:pt x="369037" y="27467"/>
                  </a:cubicBezTo>
                  <a:close/>
                  <a:moveTo>
                    <a:pt x="369037" y="0"/>
                  </a:moveTo>
                  <a:cubicBezTo>
                    <a:pt x="453765" y="0"/>
                    <a:pt x="521849" y="70195"/>
                    <a:pt x="521849" y="155649"/>
                  </a:cubicBezTo>
                  <a:lnTo>
                    <a:pt x="521849" y="299091"/>
                  </a:lnTo>
                  <a:cubicBezTo>
                    <a:pt x="521849" y="383020"/>
                    <a:pt x="453765" y="454741"/>
                    <a:pt x="369037" y="454741"/>
                  </a:cubicBezTo>
                  <a:cubicBezTo>
                    <a:pt x="284310" y="454741"/>
                    <a:pt x="214712" y="383020"/>
                    <a:pt x="214712" y="299091"/>
                  </a:cubicBezTo>
                  <a:lnTo>
                    <a:pt x="214712" y="155649"/>
                  </a:lnTo>
                  <a:cubicBezTo>
                    <a:pt x="214712" y="70195"/>
                    <a:pt x="284310" y="0"/>
                    <a:pt x="369037" y="0"/>
                  </a:cubicBezTo>
                  <a:close/>
                </a:path>
              </a:pathLst>
            </a:custGeom>
            <a:solidFill>
              <a:srgbClr val="E9693B"/>
            </a:solidFill>
            <a:ln>
              <a:noFill/>
            </a:ln>
            <a:effectLst/>
          </p:spPr>
          <p:txBody>
            <a:bodyPr wrap="square" anchor="ctr">
              <a:noAutofit/>
            </a:bodyPr>
            <a:lstStyle/>
            <a:p>
              <a:endParaRPr lang="es-PE" sz="2700" noProof="0">
                <a:solidFill>
                  <a:schemeClr val="tx2"/>
                </a:solidFill>
                <a:latin typeface="Fira Sans Light" panose="020B0403050000020004" pitchFamily="34" charset="0"/>
              </a:endParaRPr>
            </a:p>
          </p:txBody>
        </p:sp>
      </p:grpSp>
      <p:pic>
        <p:nvPicPr>
          <p:cNvPr id="88" name="Imagen 87">
            <a:extLst>
              <a:ext uri="{FF2B5EF4-FFF2-40B4-BE49-F238E27FC236}">
                <a16:creationId xmlns:a16="http://schemas.microsoft.com/office/drawing/2014/main" id="{D2701303-11B7-838A-D3B5-860AD782ABE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91643" y="2648726"/>
            <a:ext cx="382321" cy="382321"/>
          </a:xfrm>
          <a:prstGeom prst="rect">
            <a:avLst/>
          </a:prstGeom>
        </p:spPr>
      </p:pic>
      <p:pic>
        <p:nvPicPr>
          <p:cNvPr id="97" name="Imagen 96">
            <a:extLst>
              <a:ext uri="{FF2B5EF4-FFF2-40B4-BE49-F238E27FC236}">
                <a16:creationId xmlns:a16="http://schemas.microsoft.com/office/drawing/2014/main" id="{E0FB33A3-E587-BFDB-E30E-C963E0526DB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88544" y="4290819"/>
            <a:ext cx="226987" cy="226987"/>
          </a:xfrm>
          <a:prstGeom prst="rect">
            <a:avLst/>
          </a:prstGeom>
        </p:spPr>
      </p:pic>
      <p:grpSp>
        <p:nvGrpSpPr>
          <p:cNvPr id="98" name="Grupo 97">
            <a:extLst>
              <a:ext uri="{FF2B5EF4-FFF2-40B4-BE49-F238E27FC236}">
                <a16:creationId xmlns:a16="http://schemas.microsoft.com/office/drawing/2014/main" id="{84A1FBA1-E030-88DF-142F-7DB94368F261}"/>
              </a:ext>
            </a:extLst>
          </p:cNvPr>
          <p:cNvGrpSpPr/>
          <p:nvPr/>
        </p:nvGrpSpPr>
        <p:grpSpPr>
          <a:xfrm>
            <a:off x="4781691" y="4432667"/>
            <a:ext cx="490884" cy="492443"/>
            <a:chOff x="4338875" y="1422627"/>
            <a:chExt cx="1156404" cy="987814"/>
          </a:xfrm>
        </p:grpSpPr>
        <p:grpSp>
          <p:nvGrpSpPr>
            <p:cNvPr id="99" name="Group 67">
              <a:extLst>
                <a:ext uri="{FF2B5EF4-FFF2-40B4-BE49-F238E27FC236}">
                  <a16:creationId xmlns:a16="http://schemas.microsoft.com/office/drawing/2014/main" id="{152751F0-EDB9-8220-3839-F085820166A2}"/>
                </a:ext>
              </a:extLst>
            </p:cNvPr>
            <p:cNvGrpSpPr/>
            <p:nvPr/>
          </p:nvGrpSpPr>
          <p:grpSpPr>
            <a:xfrm>
              <a:off x="4338875" y="1422627"/>
              <a:ext cx="1156404" cy="987814"/>
              <a:chOff x="10148408" y="2375071"/>
              <a:chExt cx="1852228" cy="1852228"/>
            </a:xfrm>
          </p:grpSpPr>
          <p:sp>
            <p:nvSpPr>
              <p:cNvPr id="101" name="Oval 7">
                <a:extLst>
                  <a:ext uri="{FF2B5EF4-FFF2-40B4-BE49-F238E27FC236}">
                    <a16:creationId xmlns:a16="http://schemas.microsoft.com/office/drawing/2014/main" id="{FB4B65D5-DDE7-5314-ADFF-D573508BCA16}"/>
                  </a:ext>
                </a:extLst>
              </p:cNvPr>
              <p:cNvSpPr/>
              <p:nvPr/>
            </p:nvSpPr>
            <p:spPr>
              <a:xfrm>
                <a:off x="10148408" y="2375071"/>
                <a:ext cx="1852228" cy="1852228"/>
              </a:xfrm>
              <a:prstGeom prst="ellipse">
                <a:avLst/>
              </a:prstGeom>
              <a:solidFill>
                <a:srgbClr val="E969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675" noProof="0">
                  <a:latin typeface="Fira Sans Light" panose="020B0403050000020004" pitchFamily="34" charset="0"/>
                </a:endParaRPr>
              </a:p>
            </p:txBody>
          </p:sp>
          <p:sp>
            <p:nvSpPr>
              <p:cNvPr id="102" name="Oval 61">
                <a:extLst>
                  <a:ext uri="{FF2B5EF4-FFF2-40B4-BE49-F238E27FC236}">
                    <a16:creationId xmlns:a16="http://schemas.microsoft.com/office/drawing/2014/main" id="{8C0CC570-46DC-D706-1D19-41653E079584}"/>
                  </a:ext>
                </a:extLst>
              </p:cNvPr>
              <p:cNvSpPr/>
              <p:nvPr/>
            </p:nvSpPr>
            <p:spPr>
              <a:xfrm>
                <a:off x="10266546" y="2490193"/>
                <a:ext cx="1615953" cy="16159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675" noProof="0">
                  <a:latin typeface="Fira Sans Light" panose="020B0403050000020004" pitchFamily="34" charset="0"/>
                </a:endParaRPr>
              </a:p>
            </p:txBody>
          </p:sp>
        </p:grpSp>
        <p:sp>
          <p:nvSpPr>
            <p:cNvPr id="100" name="Freeform 18">
              <a:extLst>
                <a:ext uri="{FF2B5EF4-FFF2-40B4-BE49-F238E27FC236}">
                  <a16:creationId xmlns:a16="http://schemas.microsoft.com/office/drawing/2014/main" id="{BA7F920B-0783-3FE8-95EE-B804CBF2C3B3}"/>
                </a:ext>
              </a:extLst>
            </p:cNvPr>
            <p:cNvSpPr>
              <a:spLocks noChangeArrowheads="1"/>
            </p:cNvSpPr>
            <p:nvPr/>
          </p:nvSpPr>
          <p:spPr bwMode="auto">
            <a:xfrm>
              <a:off x="4682811" y="1715222"/>
              <a:ext cx="459853" cy="357027"/>
            </a:xfrm>
            <a:custGeom>
              <a:avLst/>
              <a:gdLst>
                <a:gd name="connsiteX0" fmla="*/ 176895 w 736553"/>
                <a:gd name="connsiteY0" fmla="*/ 422865 h 669451"/>
                <a:gd name="connsiteX1" fmla="*/ 27449 w 736553"/>
                <a:gd name="connsiteY1" fmla="*/ 641882 h 669451"/>
                <a:gd name="connsiteX2" fmla="*/ 709104 w 736553"/>
                <a:gd name="connsiteY2" fmla="*/ 641882 h 669451"/>
                <a:gd name="connsiteX3" fmla="*/ 562708 w 736553"/>
                <a:gd name="connsiteY3" fmla="*/ 422865 h 669451"/>
                <a:gd name="connsiteX4" fmla="*/ 369039 w 736553"/>
                <a:gd name="connsiteY4" fmla="*/ 530076 h 669451"/>
                <a:gd name="connsiteX5" fmla="*/ 176895 w 736553"/>
                <a:gd name="connsiteY5" fmla="*/ 422865 h 669451"/>
                <a:gd name="connsiteX6" fmla="*/ 184710 w 736553"/>
                <a:gd name="connsiteY6" fmla="*/ 392042 h 669451"/>
                <a:gd name="connsiteX7" fmla="*/ 192144 w 736553"/>
                <a:gd name="connsiteY7" fmla="*/ 399891 h 669451"/>
                <a:gd name="connsiteX8" fmla="*/ 369039 w 736553"/>
                <a:gd name="connsiteY8" fmla="*/ 502508 h 669451"/>
                <a:gd name="connsiteX9" fmla="*/ 544409 w 736553"/>
                <a:gd name="connsiteY9" fmla="*/ 399891 h 669451"/>
                <a:gd name="connsiteX10" fmla="*/ 562708 w 736553"/>
                <a:gd name="connsiteY10" fmla="*/ 392233 h 669451"/>
                <a:gd name="connsiteX11" fmla="*/ 736553 w 736553"/>
                <a:gd name="connsiteY11" fmla="*/ 654135 h 669451"/>
                <a:gd name="connsiteX12" fmla="*/ 733503 w 736553"/>
                <a:gd name="connsiteY12" fmla="*/ 663324 h 669451"/>
                <a:gd name="connsiteX13" fmla="*/ 724354 w 736553"/>
                <a:gd name="connsiteY13" fmla="*/ 669451 h 669451"/>
                <a:gd name="connsiteX14" fmla="*/ 13725 w 736553"/>
                <a:gd name="connsiteY14" fmla="*/ 669451 h 669451"/>
                <a:gd name="connsiteX15" fmla="*/ 3050 w 736553"/>
                <a:gd name="connsiteY15" fmla="*/ 663324 h 669451"/>
                <a:gd name="connsiteX16" fmla="*/ 0 w 736553"/>
                <a:gd name="connsiteY16" fmla="*/ 654135 h 669451"/>
                <a:gd name="connsiteX17" fmla="*/ 173845 w 736553"/>
                <a:gd name="connsiteY17" fmla="*/ 392233 h 669451"/>
                <a:gd name="connsiteX18" fmla="*/ 184710 w 736553"/>
                <a:gd name="connsiteY18" fmla="*/ 392042 h 669451"/>
                <a:gd name="connsiteX19" fmla="*/ 369037 w 736553"/>
                <a:gd name="connsiteY19" fmla="*/ 27467 h 669451"/>
                <a:gd name="connsiteX20" fmla="*/ 241946 w 736553"/>
                <a:gd name="connsiteY20" fmla="*/ 155649 h 669451"/>
                <a:gd name="connsiteX21" fmla="*/ 241946 w 736553"/>
                <a:gd name="connsiteY21" fmla="*/ 299091 h 669451"/>
                <a:gd name="connsiteX22" fmla="*/ 369037 w 736553"/>
                <a:gd name="connsiteY22" fmla="*/ 427274 h 669451"/>
                <a:gd name="connsiteX23" fmla="*/ 497641 w 736553"/>
                <a:gd name="connsiteY23" fmla="*/ 299091 h 669451"/>
                <a:gd name="connsiteX24" fmla="*/ 497641 w 736553"/>
                <a:gd name="connsiteY24" fmla="*/ 155649 h 669451"/>
                <a:gd name="connsiteX25" fmla="*/ 369037 w 736553"/>
                <a:gd name="connsiteY25" fmla="*/ 27467 h 669451"/>
                <a:gd name="connsiteX26" fmla="*/ 369037 w 736553"/>
                <a:gd name="connsiteY26" fmla="*/ 0 h 669451"/>
                <a:gd name="connsiteX27" fmla="*/ 521849 w 736553"/>
                <a:gd name="connsiteY27" fmla="*/ 155649 h 669451"/>
                <a:gd name="connsiteX28" fmla="*/ 521849 w 736553"/>
                <a:gd name="connsiteY28" fmla="*/ 299091 h 669451"/>
                <a:gd name="connsiteX29" fmla="*/ 369037 w 736553"/>
                <a:gd name="connsiteY29" fmla="*/ 454741 h 669451"/>
                <a:gd name="connsiteX30" fmla="*/ 214712 w 736553"/>
                <a:gd name="connsiteY30" fmla="*/ 299091 h 669451"/>
                <a:gd name="connsiteX31" fmla="*/ 214712 w 736553"/>
                <a:gd name="connsiteY31" fmla="*/ 155649 h 669451"/>
                <a:gd name="connsiteX32" fmla="*/ 369037 w 736553"/>
                <a:gd name="connsiteY32" fmla="*/ 0 h 669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36553" h="669451">
                  <a:moveTo>
                    <a:pt x="176895" y="422865"/>
                  </a:moveTo>
                  <a:cubicBezTo>
                    <a:pt x="51849" y="485660"/>
                    <a:pt x="30499" y="602061"/>
                    <a:pt x="27449" y="641882"/>
                  </a:cubicBezTo>
                  <a:lnTo>
                    <a:pt x="709104" y="641882"/>
                  </a:lnTo>
                  <a:cubicBezTo>
                    <a:pt x="706054" y="602061"/>
                    <a:pt x="684705" y="485660"/>
                    <a:pt x="562708" y="422865"/>
                  </a:cubicBezTo>
                  <a:cubicBezTo>
                    <a:pt x="521535" y="488723"/>
                    <a:pt x="446812" y="530076"/>
                    <a:pt x="369039" y="530076"/>
                  </a:cubicBezTo>
                  <a:cubicBezTo>
                    <a:pt x="291266" y="530076"/>
                    <a:pt x="218069" y="488723"/>
                    <a:pt x="176895" y="422865"/>
                  </a:cubicBezTo>
                  <a:close/>
                  <a:moveTo>
                    <a:pt x="184710" y="392042"/>
                  </a:moveTo>
                  <a:cubicBezTo>
                    <a:pt x="187951" y="393382"/>
                    <a:pt x="190619" y="396062"/>
                    <a:pt x="192144" y="399891"/>
                  </a:cubicBezTo>
                  <a:cubicBezTo>
                    <a:pt x="228743" y="464218"/>
                    <a:pt x="295841" y="502508"/>
                    <a:pt x="369039" y="502508"/>
                  </a:cubicBezTo>
                  <a:cubicBezTo>
                    <a:pt x="440712" y="502508"/>
                    <a:pt x="509335" y="464218"/>
                    <a:pt x="544409" y="399891"/>
                  </a:cubicBezTo>
                  <a:cubicBezTo>
                    <a:pt x="548984" y="392233"/>
                    <a:pt x="556609" y="389170"/>
                    <a:pt x="562708" y="392233"/>
                  </a:cubicBezTo>
                  <a:cubicBezTo>
                    <a:pt x="735028" y="471876"/>
                    <a:pt x="736553" y="652603"/>
                    <a:pt x="736553" y="654135"/>
                  </a:cubicBezTo>
                  <a:cubicBezTo>
                    <a:pt x="736553" y="660261"/>
                    <a:pt x="736553" y="661793"/>
                    <a:pt x="733503" y="663324"/>
                  </a:cubicBezTo>
                  <a:cubicBezTo>
                    <a:pt x="730453" y="666387"/>
                    <a:pt x="727403" y="669451"/>
                    <a:pt x="724354" y="669451"/>
                  </a:cubicBezTo>
                  <a:lnTo>
                    <a:pt x="13725" y="669451"/>
                  </a:lnTo>
                  <a:cubicBezTo>
                    <a:pt x="9150" y="669451"/>
                    <a:pt x="6100" y="666387"/>
                    <a:pt x="3050" y="663324"/>
                  </a:cubicBezTo>
                  <a:cubicBezTo>
                    <a:pt x="1525" y="661793"/>
                    <a:pt x="0" y="660261"/>
                    <a:pt x="0" y="654135"/>
                  </a:cubicBezTo>
                  <a:cubicBezTo>
                    <a:pt x="0" y="652603"/>
                    <a:pt x="1525" y="471876"/>
                    <a:pt x="173845" y="392233"/>
                  </a:cubicBezTo>
                  <a:cubicBezTo>
                    <a:pt x="177657" y="390702"/>
                    <a:pt x="181470" y="390702"/>
                    <a:pt x="184710" y="392042"/>
                  </a:cubicBezTo>
                  <a:close/>
                  <a:moveTo>
                    <a:pt x="369037" y="27467"/>
                  </a:moveTo>
                  <a:cubicBezTo>
                    <a:pt x="297927" y="27467"/>
                    <a:pt x="241946" y="85454"/>
                    <a:pt x="241946" y="155649"/>
                  </a:cubicBezTo>
                  <a:lnTo>
                    <a:pt x="241946" y="299091"/>
                  </a:lnTo>
                  <a:cubicBezTo>
                    <a:pt x="241946" y="369286"/>
                    <a:pt x="297927" y="427274"/>
                    <a:pt x="369037" y="427274"/>
                  </a:cubicBezTo>
                  <a:cubicBezTo>
                    <a:pt x="438635" y="427274"/>
                    <a:pt x="497641" y="369286"/>
                    <a:pt x="497641" y="299091"/>
                  </a:cubicBezTo>
                  <a:lnTo>
                    <a:pt x="497641" y="155649"/>
                  </a:lnTo>
                  <a:cubicBezTo>
                    <a:pt x="497641" y="85454"/>
                    <a:pt x="438635" y="27467"/>
                    <a:pt x="369037" y="27467"/>
                  </a:cubicBezTo>
                  <a:close/>
                  <a:moveTo>
                    <a:pt x="369037" y="0"/>
                  </a:moveTo>
                  <a:cubicBezTo>
                    <a:pt x="453765" y="0"/>
                    <a:pt x="521849" y="70195"/>
                    <a:pt x="521849" y="155649"/>
                  </a:cubicBezTo>
                  <a:lnTo>
                    <a:pt x="521849" y="299091"/>
                  </a:lnTo>
                  <a:cubicBezTo>
                    <a:pt x="521849" y="383020"/>
                    <a:pt x="453765" y="454741"/>
                    <a:pt x="369037" y="454741"/>
                  </a:cubicBezTo>
                  <a:cubicBezTo>
                    <a:pt x="284310" y="454741"/>
                    <a:pt x="214712" y="383020"/>
                    <a:pt x="214712" y="299091"/>
                  </a:cubicBezTo>
                  <a:lnTo>
                    <a:pt x="214712" y="155649"/>
                  </a:lnTo>
                  <a:cubicBezTo>
                    <a:pt x="214712" y="70195"/>
                    <a:pt x="284310" y="0"/>
                    <a:pt x="369037" y="0"/>
                  </a:cubicBezTo>
                  <a:close/>
                </a:path>
              </a:pathLst>
            </a:custGeom>
            <a:solidFill>
              <a:srgbClr val="E9693B"/>
            </a:solidFill>
            <a:ln>
              <a:noFill/>
            </a:ln>
            <a:effectLst/>
          </p:spPr>
          <p:txBody>
            <a:bodyPr wrap="square" anchor="ctr">
              <a:noAutofit/>
            </a:bodyPr>
            <a:lstStyle/>
            <a:p>
              <a:endParaRPr lang="es-PE" sz="2700" noProof="0">
                <a:solidFill>
                  <a:schemeClr val="tx2"/>
                </a:solidFill>
                <a:latin typeface="Fira Sans Light" panose="020B0403050000020004" pitchFamily="34" charset="0"/>
              </a:endParaRPr>
            </a:p>
          </p:txBody>
        </p:sp>
      </p:grpSp>
      <p:pic>
        <p:nvPicPr>
          <p:cNvPr id="103" name="Imagen 102">
            <a:extLst>
              <a:ext uri="{FF2B5EF4-FFF2-40B4-BE49-F238E27FC236}">
                <a16:creationId xmlns:a16="http://schemas.microsoft.com/office/drawing/2014/main" id="{A8ECAFAF-E95A-220D-03FC-4961CA6AFA3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4398" y="4481447"/>
            <a:ext cx="382321" cy="382321"/>
          </a:xfrm>
          <a:prstGeom prst="rect">
            <a:avLst/>
          </a:prstGeom>
        </p:spPr>
      </p:pic>
      <p:grpSp>
        <p:nvGrpSpPr>
          <p:cNvPr id="104" name="Grupo 103">
            <a:extLst>
              <a:ext uri="{FF2B5EF4-FFF2-40B4-BE49-F238E27FC236}">
                <a16:creationId xmlns:a16="http://schemas.microsoft.com/office/drawing/2014/main" id="{A2A407D2-9C7B-F161-6D88-23F7B745E933}"/>
              </a:ext>
            </a:extLst>
          </p:cNvPr>
          <p:cNvGrpSpPr/>
          <p:nvPr/>
        </p:nvGrpSpPr>
        <p:grpSpPr>
          <a:xfrm>
            <a:off x="2246906" y="4412741"/>
            <a:ext cx="490884" cy="492443"/>
            <a:chOff x="4338875" y="1422627"/>
            <a:chExt cx="1156404" cy="987814"/>
          </a:xfrm>
        </p:grpSpPr>
        <p:grpSp>
          <p:nvGrpSpPr>
            <p:cNvPr id="105" name="Group 67">
              <a:extLst>
                <a:ext uri="{FF2B5EF4-FFF2-40B4-BE49-F238E27FC236}">
                  <a16:creationId xmlns:a16="http://schemas.microsoft.com/office/drawing/2014/main" id="{E1B7A3ED-002C-83A6-E3FE-94299902A83B}"/>
                </a:ext>
              </a:extLst>
            </p:cNvPr>
            <p:cNvGrpSpPr/>
            <p:nvPr/>
          </p:nvGrpSpPr>
          <p:grpSpPr>
            <a:xfrm>
              <a:off x="4338875" y="1422627"/>
              <a:ext cx="1156404" cy="987814"/>
              <a:chOff x="10148408" y="2375071"/>
              <a:chExt cx="1852228" cy="1852228"/>
            </a:xfrm>
          </p:grpSpPr>
          <p:sp>
            <p:nvSpPr>
              <p:cNvPr id="107" name="Oval 7">
                <a:extLst>
                  <a:ext uri="{FF2B5EF4-FFF2-40B4-BE49-F238E27FC236}">
                    <a16:creationId xmlns:a16="http://schemas.microsoft.com/office/drawing/2014/main" id="{C873A29A-7A5E-C263-2560-26167880D2A8}"/>
                  </a:ext>
                </a:extLst>
              </p:cNvPr>
              <p:cNvSpPr/>
              <p:nvPr/>
            </p:nvSpPr>
            <p:spPr>
              <a:xfrm>
                <a:off x="10148408" y="2375071"/>
                <a:ext cx="1852228" cy="1852228"/>
              </a:xfrm>
              <a:prstGeom prst="ellipse">
                <a:avLst/>
              </a:prstGeom>
              <a:solidFill>
                <a:srgbClr val="E969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675" noProof="0">
                  <a:latin typeface="Fira Sans Light" panose="020B0403050000020004" pitchFamily="34" charset="0"/>
                </a:endParaRPr>
              </a:p>
            </p:txBody>
          </p:sp>
          <p:sp>
            <p:nvSpPr>
              <p:cNvPr id="108" name="Oval 61">
                <a:extLst>
                  <a:ext uri="{FF2B5EF4-FFF2-40B4-BE49-F238E27FC236}">
                    <a16:creationId xmlns:a16="http://schemas.microsoft.com/office/drawing/2014/main" id="{61ACADEF-D4FD-74D0-6CDF-AB6F5B7D4342}"/>
                  </a:ext>
                </a:extLst>
              </p:cNvPr>
              <p:cNvSpPr/>
              <p:nvPr/>
            </p:nvSpPr>
            <p:spPr>
              <a:xfrm>
                <a:off x="10266546" y="2490193"/>
                <a:ext cx="1615953" cy="16159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675" noProof="0">
                  <a:latin typeface="Fira Sans Light" panose="020B0403050000020004" pitchFamily="34" charset="0"/>
                </a:endParaRPr>
              </a:p>
            </p:txBody>
          </p:sp>
        </p:grpSp>
        <p:sp>
          <p:nvSpPr>
            <p:cNvPr id="106" name="Freeform 18">
              <a:extLst>
                <a:ext uri="{FF2B5EF4-FFF2-40B4-BE49-F238E27FC236}">
                  <a16:creationId xmlns:a16="http://schemas.microsoft.com/office/drawing/2014/main" id="{D55244B8-18DD-62BD-A659-36516604DD77}"/>
                </a:ext>
              </a:extLst>
            </p:cNvPr>
            <p:cNvSpPr>
              <a:spLocks noChangeArrowheads="1"/>
            </p:cNvSpPr>
            <p:nvPr/>
          </p:nvSpPr>
          <p:spPr bwMode="auto">
            <a:xfrm>
              <a:off x="4682811" y="1715222"/>
              <a:ext cx="459853" cy="357027"/>
            </a:xfrm>
            <a:custGeom>
              <a:avLst/>
              <a:gdLst>
                <a:gd name="connsiteX0" fmla="*/ 176895 w 736553"/>
                <a:gd name="connsiteY0" fmla="*/ 422865 h 669451"/>
                <a:gd name="connsiteX1" fmla="*/ 27449 w 736553"/>
                <a:gd name="connsiteY1" fmla="*/ 641882 h 669451"/>
                <a:gd name="connsiteX2" fmla="*/ 709104 w 736553"/>
                <a:gd name="connsiteY2" fmla="*/ 641882 h 669451"/>
                <a:gd name="connsiteX3" fmla="*/ 562708 w 736553"/>
                <a:gd name="connsiteY3" fmla="*/ 422865 h 669451"/>
                <a:gd name="connsiteX4" fmla="*/ 369039 w 736553"/>
                <a:gd name="connsiteY4" fmla="*/ 530076 h 669451"/>
                <a:gd name="connsiteX5" fmla="*/ 176895 w 736553"/>
                <a:gd name="connsiteY5" fmla="*/ 422865 h 669451"/>
                <a:gd name="connsiteX6" fmla="*/ 184710 w 736553"/>
                <a:gd name="connsiteY6" fmla="*/ 392042 h 669451"/>
                <a:gd name="connsiteX7" fmla="*/ 192144 w 736553"/>
                <a:gd name="connsiteY7" fmla="*/ 399891 h 669451"/>
                <a:gd name="connsiteX8" fmla="*/ 369039 w 736553"/>
                <a:gd name="connsiteY8" fmla="*/ 502508 h 669451"/>
                <a:gd name="connsiteX9" fmla="*/ 544409 w 736553"/>
                <a:gd name="connsiteY9" fmla="*/ 399891 h 669451"/>
                <a:gd name="connsiteX10" fmla="*/ 562708 w 736553"/>
                <a:gd name="connsiteY10" fmla="*/ 392233 h 669451"/>
                <a:gd name="connsiteX11" fmla="*/ 736553 w 736553"/>
                <a:gd name="connsiteY11" fmla="*/ 654135 h 669451"/>
                <a:gd name="connsiteX12" fmla="*/ 733503 w 736553"/>
                <a:gd name="connsiteY12" fmla="*/ 663324 h 669451"/>
                <a:gd name="connsiteX13" fmla="*/ 724354 w 736553"/>
                <a:gd name="connsiteY13" fmla="*/ 669451 h 669451"/>
                <a:gd name="connsiteX14" fmla="*/ 13725 w 736553"/>
                <a:gd name="connsiteY14" fmla="*/ 669451 h 669451"/>
                <a:gd name="connsiteX15" fmla="*/ 3050 w 736553"/>
                <a:gd name="connsiteY15" fmla="*/ 663324 h 669451"/>
                <a:gd name="connsiteX16" fmla="*/ 0 w 736553"/>
                <a:gd name="connsiteY16" fmla="*/ 654135 h 669451"/>
                <a:gd name="connsiteX17" fmla="*/ 173845 w 736553"/>
                <a:gd name="connsiteY17" fmla="*/ 392233 h 669451"/>
                <a:gd name="connsiteX18" fmla="*/ 184710 w 736553"/>
                <a:gd name="connsiteY18" fmla="*/ 392042 h 669451"/>
                <a:gd name="connsiteX19" fmla="*/ 369037 w 736553"/>
                <a:gd name="connsiteY19" fmla="*/ 27467 h 669451"/>
                <a:gd name="connsiteX20" fmla="*/ 241946 w 736553"/>
                <a:gd name="connsiteY20" fmla="*/ 155649 h 669451"/>
                <a:gd name="connsiteX21" fmla="*/ 241946 w 736553"/>
                <a:gd name="connsiteY21" fmla="*/ 299091 h 669451"/>
                <a:gd name="connsiteX22" fmla="*/ 369037 w 736553"/>
                <a:gd name="connsiteY22" fmla="*/ 427274 h 669451"/>
                <a:gd name="connsiteX23" fmla="*/ 497641 w 736553"/>
                <a:gd name="connsiteY23" fmla="*/ 299091 h 669451"/>
                <a:gd name="connsiteX24" fmla="*/ 497641 w 736553"/>
                <a:gd name="connsiteY24" fmla="*/ 155649 h 669451"/>
                <a:gd name="connsiteX25" fmla="*/ 369037 w 736553"/>
                <a:gd name="connsiteY25" fmla="*/ 27467 h 669451"/>
                <a:gd name="connsiteX26" fmla="*/ 369037 w 736553"/>
                <a:gd name="connsiteY26" fmla="*/ 0 h 669451"/>
                <a:gd name="connsiteX27" fmla="*/ 521849 w 736553"/>
                <a:gd name="connsiteY27" fmla="*/ 155649 h 669451"/>
                <a:gd name="connsiteX28" fmla="*/ 521849 w 736553"/>
                <a:gd name="connsiteY28" fmla="*/ 299091 h 669451"/>
                <a:gd name="connsiteX29" fmla="*/ 369037 w 736553"/>
                <a:gd name="connsiteY29" fmla="*/ 454741 h 669451"/>
                <a:gd name="connsiteX30" fmla="*/ 214712 w 736553"/>
                <a:gd name="connsiteY30" fmla="*/ 299091 h 669451"/>
                <a:gd name="connsiteX31" fmla="*/ 214712 w 736553"/>
                <a:gd name="connsiteY31" fmla="*/ 155649 h 669451"/>
                <a:gd name="connsiteX32" fmla="*/ 369037 w 736553"/>
                <a:gd name="connsiteY32" fmla="*/ 0 h 669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36553" h="669451">
                  <a:moveTo>
                    <a:pt x="176895" y="422865"/>
                  </a:moveTo>
                  <a:cubicBezTo>
                    <a:pt x="51849" y="485660"/>
                    <a:pt x="30499" y="602061"/>
                    <a:pt x="27449" y="641882"/>
                  </a:cubicBezTo>
                  <a:lnTo>
                    <a:pt x="709104" y="641882"/>
                  </a:lnTo>
                  <a:cubicBezTo>
                    <a:pt x="706054" y="602061"/>
                    <a:pt x="684705" y="485660"/>
                    <a:pt x="562708" y="422865"/>
                  </a:cubicBezTo>
                  <a:cubicBezTo>
                    <a:pt x="521535" y="488723"/>
                    <a:pt x="446812" y="530076"/>
                    <a:pt x="369039" y="530076"/>
                  </a:cubicBezTo>
                  <a:cubicBezTo>
                    <a:pt x="291266" y="530076"/>
                    <a:pt x="218069" y="488723"/>
                    <a:pt x="176895" y="422865"/>
                  </a:cubicBezTo>
                  <a:close/>
                  <a:moveTo>
                    <a:pt x="184710" y="392042"/>
                  </a:moveTo>
                  <a:cubicBezTo>
                    <a:pt x="187951" y="393382"/>
                    <a:pt x="190619" y="396062"/>
                    <a:pt x="192144" y="399891"/>
                  </a:cubicBezTo>
                  <a:cubicBezTo>
                    <a:pt x="228743" y="464218"/>
                    <a:pt x="295841" y="502508"/>
                    <a:pt x="369039" y="502508"/>
                  </a:cubicBezTo>
                  <a:cubicBezTo>
                    <a:pt x="440712" y="502508"/>
                    <a:pt x="509335" y="464218"/>
                    <a:pt x="544409" y="399891"/>
                  </a:cubicBezTo>
                  <a:cubicBezTo>
                    <a:pt x="548984" y="392233"/>
                    <a:pt x="556609" y="389170"/>
                    <a:pt x="562708" y="392233"/>
                  </a:cubicBezTo>
                  <a:cubicBezTo>
                    <a:pt x="735028" y="471876"/>
                    <a:pt x="736553" y="652603"/>
                    <a:pt x="736553" y="654135"/>
                  </a:cubicBezTo>
                  <a:cubicBezTo>
                    <a:pt x="736553" y="660261"/>
                    <a:pt x="736553" y="661793"/>
                    <a:pt x="733503" y="663324"/>
                  </a:cubicBezTo>
                  <a:cubicBezTo>
                    <a:pt x="730453" y="666387"/>
                    <a:pt x="727403" y="669451"/>
                    <a:pt x="724354" y="669451"/>
                  </a:cubicBezTo>
                  <a:lnTo>
                    <a:pt x="13725" y="669451"/>
                  </a:lnTo>
                  <a:cubicBezTo>
                    <a:pt x="9150" y="669451"/>
                    <a:pt x="6100" y="666387"/>
                    <a:pt x="3050" y="663324"/>
                  </a:cubicBezTo>
                  <a:cubicBezTo>
                    <a:pt x="1525" y="661793"/>
                    <a:pt x="0" y="660261"/>
                    <a:pt x="0" y="654135"/>
                  </a:cubicBezTo>
                  <a:cubicBezTo>
                    <a:pt x="0" y="652603"/>
                    <a:pt x="1525" y="471876"/>
                    <a:pt x="173845" y="392233"/>
                  </a:cubicBezTo>
                  <a:cubicBezTo>
                    <a:pt x="177657" y="390702"/>
                    <a:pt x="181470" y="390702"/>
                    <a:pt x="184710" y="392042"/>
                  </a:cubicBezTo>
                  <a:close/>
                  <a:moveTo>
                    <a:pt x="369037" y="27467"/>
                  </a:moveTo>
                  <a:cubicBezTo>
                    <a:pt x="297927" y="27467"/>
                    <a:pt x="241946" y="85454"/>
                    <a:pt x="241946" y="155649"/>
                  </a:cubicBezTo>
                  <a:lnTo>
                    <a:pt x="241946" y="299091"/>
                  </a:lnTo>
                  <a:cubicBezTo>
                    <a:pt x="241946" y="369286"/>
                    <a:pt x="297927" y="427274"/>
                    <a:pt x="369037" y="427274"/>
                  </a:cubicBezTo>
                  <a:cubicBezTo>
                    <a:pt x="438635" y="427274"/>
                    <a:pt x="497641" y="369286"/>
                    <a:pt x="497641" y="299091"/>
                  </a:cubicBezTo>
                  <a:lnTo>
                    <a:pt x="497641" y="155649"/>
                  </a:lnTo>
                  <a:cubicBezTo>
                    <a:pt x="497641" y="85454"/>
                    <a:pt x="438635" y="27467"/>
                    <a:pt x="369037" y="27467"/>
                  </a:cubicBezTo>
                  <a:close/>
                  <a:moveTo>
                    <a:pt x="369037" y="0"/>
                  </a:moveTo>
                  <a:cubicBezTo>
                    <a:pt x="453765" y="0"/>
                    <a:pt x="521849" y="70195"/>
                    <a:pt x="521849" y="155649"/>
                  </a:cubicBezTo>
                  <a:lnTo>
                    <a:pt x="521849" y="299091"/>
                  </a:lnTo>
                  <a:cubicBezTo>
                    <a:pt x="521849" y="383020"/>
                    <a:pt x="453765" y="454741"/>
                    <a:pt x="369037" y="454741"/>
                  </a:cubicBezTo>
                  <a:cubicBezTo>
                    <a:pt x="284310" y="454741"/>
                    <a:pt x="214712" y="383020"/>
                    <a:pt x="214712" y="299091"/>
                  </a:cubicBezTo>
                  <a:lnTo>
                    <a:pt x="214712" y="155649"/>
                  </a:lnTo>
                  <a:cubicBezTo>
                    <a:pt x="214712" y="70195"/>
                    <a:pt x="284310" y="0"/>
                    <a:pt x="369037" y="0"/>
                  </a:cubicBezTo>
                  <a:close/>
                </a:path>
              </a:pathLst>
            </a:custGeom>
            <a:solidFill>
              <a:srgbClr val="E9693B"/>
            </a:solidFill>
            <a:ln>
              <a:noFill/>
            </a:ln>
            <a:effectLst/>
          </p:spPr>
          <p:txBody>
            <a:bodyPr wrap="square" anchor="ctr">
              <a:noAutofit/>
            </a:bodyPr>
            <a:lstStyle/>
            <a:p>
              <a:endParaRPr lang="es-PE" sz="2700" noProof="0">
                <a:solidFill>
                  <a:schemeClr val="tx2"/>
                </a:solidFill>
                <a:latin typeface="Fira Sans Light" panose="020B0403050000020004" pitchFamily="34" charset="0"/>
              </a:endParaRPr>
            </a:p>
          </p:txBody>
        </p:sp>
      </p:grpSp>
      <p:pic>
        <p:nvPicPr>
          <p:cNvPr id="109" name="Imagen 108">
            <a:extLst>
              <a:ext uri="{FF2B5EF4-FFF2-40B4-BE49-F238E27FC236}">
                <a16:creationId xmlns:a16="http://schemas.microsoft.com/office/drawing/2014/main" id="{8319E0B8-9F6C-B4E3-0B8B-AD24D3CEFF4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99613" y="4461521"/>
            <a:ext cx="382321" cy="382321"/>
          </a:xfrm>
          <a:prstGeom prst="rect">
            <a:avLst/>
          </a:prstGeom>
        </p:spPr>
      </p:pic>
      <p:sp>
        <p:nvSpPr>
          <p:cNvPr id="110" name="TextBox 37">
            <a:extLst>
              <a:ext uri="{FF2B5EF4-FFF2-40B4-BE49-F238E27FC236}">
                <a16:creationId xmlns:a16="http://schemas.microsoft.com/office/drawing/2014/main" id="{AD7F9EE2-8430-237A-578D-F5F333577182}"/>
              </a:ext>
            </a:extLst>
          </p:cNvPr>
          <p:cNvSpPr txBox="1"/>
          <p:nvPr/>
        </p:nvSpPr>
        <p:spPr>
          <a:xfrm>
            <a:off x="1836435" y="4982189"/>
            <a:ext cx="1308141" cy="246221"/>
          </a:xfrm>
          <a:prstGeom prst="rect">
            <a:avLst/>
          </a:prstGeom>
          <a:noFill/>
        </p:spPr>
        <p:txBody>
          <a:bodyPr wrap="square" rtlCol="0" anchor="ctr" anchorCtr="0">
            <a:spAutoFit/>
          </a:bodyPr>
          <a:lstStyle/>
          <a:p>
            <a:pPr algn="ctr"/>
            <a:r>
              <a:rPr lang="es-PE" sz="1000" b="1" noProof="0" dirty="0">
                <a:solidFill>
                  <a:schemeClr val="tx2"/>
                </a:solidFill>
                <a:latin typeface="Fira Sans" panose="020B0503050000020004" pitchFamily="34" charset="0"/>
                <a:ea typeface="League Spartan" charset="0"/>
                <a:cs typeface="Poppins" pitchFamily="2" charset="77"/>
              </a:rPr>
              <a:t>P</a:t>
            </a:r>
            <a:r>
              <a:rPr lang="es-PE" sz="1000" b="1" dirty="0" err="1">
                <a:solidFill>
                  <a:schemeClr val="tx2"/>
                </a:solidFill>
                <a:latin typeface="Fira Sans" panose="020B0503050000020004" pitchFamily="34" charset="0"/>
                <a:ea typeface="League Spartan" charset="0"/>
                <a:cs typeface="Poppins" pitchFamily="2" charset="77"/>
              </a:rPr>
              <a:t>roduct</a:t>
            </a:r>
            <a:r>
              <a:rPr lang="es-PE" sz="1000" b="1" dirty="0">
                <a:solidFill>
                  <a:schemeClr val="tx2"/>
                </a:solidFill>
                <a:latin typeface="Fira Sans" panose="020B0503050000020004" pitchFamily="34" charset="0"/>
                <a:ea typeface="League Spartan" charset="0"/>
                <a:cs typeface="Poppins" pitchFamily="2" charset="77"/>
              </a:rPr>
              <a:t> </a:t>
            </a:r>
            <a:r>
              <a:rPr lang="es-PE" sz="1000" b="1" dirty="0" err="1">
                <a:solidFill>
                  <a:schemeClr val="tx2"/>
                </a:solidFill>
                <a:latin typeface="Fira Sans" panose="020B0503050000020004" pitchFamily="34" charset="0"/>
                <a:ea typeface="League Spartan" charset="0"/>
                <a:cs typeface="Poppins" pitchFamily="2" charset="77"/>
              </a:rPr>
              <a:t>Owner</a:t>
            </a:r>
            <a:endParaRPr lang="es-PE" sz="1000" b="1" dirty="0">
              <a:solidFill>
                <a:schemeClr val="tx2"/>
              </a:solidFill>
              <a:latin typeface="Fira Sans" panose="020B0503050000020004" pitchFamily="34" charset="0"/>
              <a:cs typeface="Poppins" pitchFamily="2" charset="77"/>
            </a:endParaRPr>
          </a:p>
        </p:txBody>
      </p:sp>
      <p:sp>
        <p:nvSpPr>
          <p:cNvPr id="13" name="Rectángulo: esquinas redondeadas 12">
            <a:extLst>
              <a:ext uri="{FF2B5EF4-FFF2-40B4-BE49-F238E27FC236}">
                <a16:creationId xmlns:a16="http://schemas.microsoft.com/office/drawing/2014/main" id="{F14EC81F-B183-F795-CBE8-94996BFA130F}"/>
              </a:ext>
            </a:extLst>
          </p:cNvPr>
          <p:cNvSpPr/>
          <p:nvPr/>
        </p:nvSpPr>
        <p:spPr>
          <a:xfrm>
            <a:off x="2140753" y="2564542"/>
            <a:ext cx="1248132" cy="661731"/>
          </a:xfrm>
          <a:prstGeom prst="roundRect">
            <a:avLst>
              <a:gd name="adj" fmla="val 10037"/>
            </a:avLst>
          </a:prstGeom>
          <a:solidFill>
            <a:srgbClr val="E9693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6" name="Rectángulo: esquinas redondeadas 15">
            <a:extLst>
              <a:ext uri="{FF2B5EF4-FFF2-40B4-BE49-F238E27FC236}">
                <a16:creationId xmlns:a16="http://schemas.microsoft.com/office/drawing/2014/main" id="{E60D58C9-EEE0-33B4-EA65-1B59B83178D7}"/>
              </a:ext>
            </a:extLst>
          </p:cNvPr>
          <p:cNvSpPr/>
          <p:nvPr/>
        </p:nvSpPr>
        <p:spPr>
          <a:xfrm>
            <a:off x="2186611" y="2612353"/>
            <a:ext cx="1119185" cy="555547"/>
          </a:xfrm>
          <a:prstGeom prst="roundRect">
            <a:avLst>
              <a:gd name="adj" fmla="val 10037"/>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20" name="TextBox 37">
            <a:extLst>
              <a:ext uri="{FF2B5EF4-FFF2-40B4-BE49-F238E27FC236}">
                <a16:creationId xmlns:a16="http://schemas.microsoft.com/office/drawing/2014/main" id="{6C8C399E-5E0D-7EBC-CE29-7B6594A97379}"/>
              </a:ext>
            </a:extLst>
          </p:cNvPr>
          <p:cNvSpPr txBox="1"/>
          <p:nvPr/>
        </p:nvSpPr>
        <p:spPr>
          <a:xfrm>
            <a:off x="2201353" y="2631065"/>
            <a:ext cx="1096469" cy="507831"/>
          </a:xfrm>
          <a:prstGeom prst="rect">
            <a:avLst/>
          </a:prstGeom>
          <a:noFill/>
        </p:spPr>
        <p:txBody>
          <a:bodyPr wrap="square" rtlCol="0" anchor="ctr" anchorCtr="0">
            <a:spAutoFit/>
          </a:bodyPr>
          <a:lstStyle/>
          <a:p>
            <a:pPr algn="ctr"/>
            <a:r>
              <a:rPr lang="es-PE" sz="900" b="1" noProof="0" dirty="0">
                <a:solidFill>
                  <a:schemeClr val="tx2"/>
                </a:solidFill>
                <a:latin typeface="Fira Sans" panose="020B0503050000020004" pitchFamily="34" charset="0"/>
                <a:ea typeface="League Spartan" charset="0"/>
                <a:cs typeface="Poppins" pitchFamily="2" charset="77"/>
              </a:rPr>
              <a:t>Generación del Artefacto de Arquitectura</a:t>
            </a:r>
          </a:p>
        </p:txBody>
      </p:sp>
      <p:sp>
        <p:nvSpPr>
          <p:cNvPr id="21" name="Rectángulo: esquinas redondeadas 20">
            <a:extLst>
              <a:ext uri="{FF2B5EF4-FFF2-40B4-BE49-F238E27FC236}">
                <a16:creationId xmlns:a16="http://schemas.microsoft.com/office/drawing/2014/main" id="{FDA08895-AECE-5757-9CA3-9093E444723A}"/>
              </a:ext>
            </a:extLst>
          </p:cNvPr>
          <p:cNvSpPr/>
          <p:nvPr/>
        </p:nvSpPr>
        <p:spPr>
          <a:xfrm>
            <a:off x="4348733" y="2574032"/>
            <a:ext cx="1268015" cy="661731"/>
          </a:xfrm>
          <a:prstGeom prst="roundRect">
            <a:avLst>
              <a:gd name="adj" fmla="val 10037"/>
            </a:avLst>
          </a:prstGeom>
          <a:solidFill>
            <a:srgbClr val="E9693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4" name="Rectángulo: esquinas redondeadas 23">
            <a:extLst>
              <a:ext uri="{FF2B5EF4-FFF2-40B4-BE49-F238E27FC236}">
                <a16:creationId xmlns:a16="http://schemas.microsoft.com/office/drawing/2014/main" id="{68211EB8-8B3B-5AE4-FFE6-08243E1C3D6C}"/>
              </a:ext>
            </a:extLst>
          </p:cNvPr>
          <p:cNvSpPr/>
          <p:nvPr/>
        </p:nvSpPr>
        <p:spPr>
          <a:xfrm>
            <a:off x="4394591" y="2621843"/>
            <a:ext cx="1171574" cy="555547"/>
          </a:xfrm>
          <a:prstGeom prst="roundRect">
            <a:avLst>
              <a:gd name="adj" fmla="val 10037"/>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25" name="TextBox 37">
            <a:extLst>
              <a:ext uri="{FF2B5EF4-FFF2-40B4-BE49-F238E27FC236}">
                <a16:creationId xmlns:a16="http://schemas.microsoft.com/office/drawing/2014/main" id="{4BA857FA-18F8-E952-4D56-B51F83B24B47}"/>
              </a:ext>
            </a:extLst>
          </p:cNvPr>
          <p:cNvSpPr txBox="1"/>
          <p:nvPr/>
        </p:nvSpPr>
        <p:spPr>
          <a:xfrm>
            <a:off x="4374407" y="2758286"/>
            <a:ext cx="1263353" cy="338554"/>
          </a:xfrm>
          <a:prstGeom prst="rect">
            <a:avLst/>
          </a:prstGeom>
          <a:noFill/>
        </p:spPr>
        <p:txBody>
          <a:bodyPr wrap="square" rtlCol="0" anchor="ctr" anchorCtr="0">
            <a:spAutoFit/>
          </a:bodyPr>
          <a:lstStyle/>
          <a:p>
            <a:pPr algn="ctr"/>
            <a:r>
              <a:rPr lang="es-ES" sz="800" b="1" dirty="0">
                <a:solidFill>
                  <a:schemeClr val="tx2"/>
                </a:solidFill>
                <a:latin typeface="Fira Sans" panose="020B0503050000020004" pitchFamily="34" charset="0"/>
                <a:ea typeface="League Spartan" charset="0"/>
                <a:cs typeface="Poppins" pitchFamily="2" charset="77"/>
              </a:rPr>
              <a:t>Creación de ambientes de Desarrollo</a:t>
            </a:r>
            <a:endParaRPr lang="es-PE" sz="800" b="1" noProof="0" dirty="0">
              <a:solidFill>
                <a:schemeClr val="tx2"/>
              </a:solidFill>
              <a:latin typeface="Fira Sans" panose="020B0503050000020004" pitchFamily="34" charset="0"/>
              <a:ea typeface="League Spartan" charset="0"/>
              <a:cs typeface="Poppins" pitchFamily="2" charset="77"/>
            </a:endParaRPr>
          </a:p>
        </p:txBody>
      </p:sp>
      <p:sp>
        <p:nvSpPr>
          <p:cNvPr id="28" name="Rectángulo: esquinas redondeadas 27">
            <a:extLst>
              <a:ext uri="{FF2B5EF4-FFF2-40B4-BE49-F238E27FC236}">
                <a16:creationId xmlns:a16="http://schemas.microsoft.com/office/drawing/2014/main" id="{CD3DA1C7-095B-16C2-4DE0-02966EF68F42}"/>
              </a:ext>
            </a:extLst>
          </p:cNvPr>
          <p:cNvSpPr/>
          <p:nvPr/>
        </p:nvSpPr>
        <p:spPr>
          <a:xfrm>
            <a:off x="9657823" y="4344301"/>
            <a:ext cx="982648" cy="661731"/>
          </a:xfrm>
          <a:prstGeom prst="roundRect">
            <a:avLst>
              <a:gd name="adj" fmla="val 10037"/>
            </a:avLst>
          </a:prstGeom>
          <a:solidFill>
            <a:srgbClr val="E9693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9" name="Rectángulo: esquinas redondeadas 28">
            <a:extLst>
              <a:ext uri="{FF2B5EF4-FFF2-40B4-BE49-F238E27FC236}">
                <a16:creationId xmlns:a16="http://schemas.microsoft.com/office/drawing/2014/main" id="{CD7CC83B-5505-A6B8-A57A-232EB0DFDF26}"/>
              </a:ext>
            </a:extLst>
          </p:cNvPr>
          <p:cNvSpPr/>
          <p:nvPr/>
        </p:nvSpPr>
        <p:spPr>
          <a:xfrm>
            <a:off x="9702066" y="4399702"/>
            <a:ext cx="894161" cy="555547"/>
          </a:xfrm>
          <a:prstGeom prst="roundRect">
            <a:avLst>
              <a:gd name="adj" fmla="val 10037"/>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30" name="TextBox 37">
            <a:extLst>
              <a:ext uri="{FF2B5EF4-FFF2-40B4-BE49-F238E27FC236}">
                <a16:creationId xmlns:a16="http://schemas.microsoft.com/office/drawing/2014/main" id="{9279E8B4-D356-2C93-929A-C7D5F79874F2}"/>
              </a:ext>
            </a:extLst>
          </p:cNvPr>
          <p:cNvSpPr txBox="1"/>
          <p:nvPr/>
        </p:nvSpPr>
        <p:spPr>
          <a:xfrm>
            <a:off x="9726720" y="4418435"/>
            <a:ext cx="883405" cy="507831"/>
          </a:xfrm>
          <a:prstGeom prst="rect">
            <a:avLst/>
          </a:prstGeom>
          <a:noFill/>
        </p:spPr>
        <p:txBody>
          <a:bodyPr wrap="square" rtlCol="0" anchor="ctr" anchorCtr="0">
            <a:spAutoFit/>
          </a:bodyPr>
          <a:lstStyle/>
          <a:p>
            <a:pPr algn="ctr"/>
            <a:r>
              <a:rPr lang="es-ES" sz="900" b="1" noProof="0" dirty="0">
                <a:solidFill>
                  <a:schemeClr val="tx2"/>
                </a:solidFill>
                <a:latin typeface="Fira Sans" panose="020B0503050000020004" pitchFamily="34" charset="0"/>
                <a:ea typeface="League Spartan" charset="0"/>
                <a:cs typeface="Poppins" pitchFamily="2" charset="77"/>
              </a:rPr>
              <a:t>Configura Accesos a Unity </a:t>
            </a:r>
            <a:r>
              <a:rPr lang="es-ES" sz="900" b="1" noProof="0" dirty="0" err="1">
                <a:solidFill>
                  <a:schemeClr val="tx2"/>
                </a:solidFill>
                <a:latin typeface="Fira Sans" panose="020B0503050000020004" pitchFamily="34" charset="0"/>
                <a:ea typeface="League Spartan" charset="0"/>
                <a:cs typeface="Poppins" pitchFamily="2" charset="77"/>
              </a:rPr>
              <a:t>Catalog</a:t>
            </a:r>
            <a:endParaRPr lang="es-PE" sz="900" b="1" noProof="0" dirty="0">
              <a:solidFill>
                <a:schemeClr val="tx2"/>
              </a:solidFill>
              <a:latin typeface="Fira Sans" panose="020B0503050000020004" pitchFamily="34" charset="0"/>
              <a:ea typeface="League Spartan" charset="0"/>
              <a:cs typeface="Poppins" pitchFamily="2" charset="77"/>
            </a:endParaRPr>
          </a:p>
        </p:txBody>
      </p:sp>
      <p:sp>
        <p:nvSpPr>
          <p:cNvPr id="32" name="Rectángulo: esquinas redondeadas 31">
            <a:extLst>
              <a:ext uri="{FF2B5EF4-FFF2-40B4-BE49-F238E27FC236}">
                <a16:creationId xmlns:a16="http://schemas.microsoft.com/office/drawing/2014/main" id="{378FD65C-3187-0022-51FC-588BA79C700E}"/>
              </a:ext>
            </a:extLst>
          </p:cNvPr>
          <p:cNvSpPr/>
          <p:nvPr/>
        </p:nvSpPr>
        <p:spPr>
          <a:xfrm>
            <a:off x="5803686" y="2577920"/>
            <a:ext cx="1168084" cy="661731"/>
          </a:xfrm>
          <a:prstGeom prst="roundRect">
            <a:avLst>
              <a:gd name="adj" fmla="val 10037"/>
            </a:avLst>
          </a:prstGeom>
          <a:solidFill>
            <a:srgbClr val="E9693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35" name="Rectángulo: esquinas redondeadas 34">
            <a:extLst>
              <a:ext uri="{FF2B5EF4-FFF2-40B4-BE49-F238E27FC236}">
                <a16:creationId xmlns:a16="http://schemas.microsoft.com/office/drawing/2014/main" id="{B23579BE-5791-49DF-4AC9-071D2C24EFE8}"/>
              </a:ext>
            </a:extLst>
          </p:cNvPr>
          <p:cNvSpPr/>
          <p:nvPr/>
        </p:nvSpPr>
        <p:spPr>
          <a:xfrm>
            <a:off x="5859174" y="2621843"/>
            <a:ext cx="1048714" cy="555547"/>
          </a:xfrm>
          <a:prstGeom prst="roundRect">
            <a:avLst>
              <a:gd name="adj" fmla="val 10037"/>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36" name="TextBox 37">
            <a:extLst>
              <a:ext uri="{FF2B5EF4-FFF2-40B4-BE49-F238E27FC236}">
                <a16:creationId xmlns:a16="http://schemas.microsoft.com/office/drawing/2014/main" id="{6A06C58F-F7C2-EA18-35EE-5A02EF69CC8A}"/>
              </a:ext>
            </a:extLst>
          </p:cNvPr>
          <p:cNvSpPr txBox="1"/>
          <p:nvPr/>
        </p:nvSpPr>
        <p:spPr>
          <a:xfrm>
            <a:off x="5817583" y="2621860"/>
            <a:ext cx="1163706" cy="584775"/>
          </a:xfrm>
          <a:prstGeom prst="rect">
            <a:avLst/>
          </a:prstGeom>
          <a:noFill/>
        </p:spPr>
        <p:txBody>
          <a:bodyPr wrap="square" rtlCol="0" anchor="ctr" anchorCtr="0">
            <a:spAutoFit/>
          </a:bodyPr>
          <a:lstStyle/>
          <a:p>
            <a:pPr algn="ctr"/>
            <a:r>
              <a:rPr lang="es-ES" sz="800" b="1" noProof="0" dirty="0">
                <a:solidFill>
                  <a:schemeClr val="tx2"/>
                </a:solidFill>
                <a:latin typeface="Fira Sans" panose="020B0503050000020004" pitchFamily="34" charset="0"/>
                <a:ea typeface="League Spartan" charset="0"/>
                <a:cs typeface="Poppins" pitchFamily="2" charset="77"/>
              </a:rPr>
              <a:t>Análisis de la Ingesta (Diccionario de Datos y Reglas de Calidad)</a:t>
            </a:r>
            <a:endParaRPr lang="es-PE" sz="800" b="1" noProof="0" dirty="0">
              <a:solidFill>
                <a:schemeClr val="tx2"/>
              </a:solidFill>
              <a:latin typeface="Fira Sans" panose="020B0503050000020004" pitchFamily="34" charset="0"/>
              <a:ea typeface="League Spartan" charset="0"/>
              <a:cs typeface="Poppins" pitchFamily="2" charset="77"/>
            </a:endParaRPr>
          </a:p>
        </p:txBody>
      </p:sp>
      <p:sp>
        <p:nvSpPr>
          <p:cNvPr id="37" name="Rectángulo: esquinas redondeadas 36">
            <a:extLst>
              <a:ext uri="{FF2B5EF4-FFF2-40B4-BE49-F238E27FC236}">
                <a16:creationId xmlns:a16="http://schemas.microsoft.com/office/drawing/2014/main" id="{26921EF1-BFBC-6250-26DE-39C15A4F1D2F}"/>
              </a:ext>
            </a:extLst>
          </p:cNvPr>
          <p:cNvSpPr/>
          <p:nvPr/>
        </p:nvSpPr>
        <p:spPr>
          <a:xfrm>
            <a:off x="8130311" y="4394038"/>
            <a:ext cx="1265324" cy="661731"/>
          </a:xfrm>
          <a:prstGeom prst="roundRect">
            <a:avLst>
              <a:gd name="adj" fmla="val 10037"/>
            </a:avLst>
          </a:prstGeom>
          <a:solidFill>
            <a:srgbClr val="E9693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39" name="Rectángulo: esquinas redondeadas 38">
            <a:extLst>
              <a:ext uri="{FF2B5EF4-FFF2-40B4-BE49-F238E27FC236}">
                <a16:creationId xmlns:a16="http://schemas.microsoft.com/office/drawing/2014/main" id="{8BA4B00F-C52A-F42B-47D0-44659E09124B}"/>
              </a:ext>
            </a:extLst>
          </p:cNvPr>
          <p:cNvSpPr/>
          <p:nvPr/>
        </p:nvSpPr>
        <p:spPr>
          <a:xfrm>
            <a:off x="8176171" y="4441849"/>
            <a:ext cx="1171854" cy="555547"/>
          </a:xfrm>
          <a:prstGeom prst="roundRect">
            <a:avLst>
              <a:gd name="adj" fmla="val 10037"/>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40" name="TextBox 37">
            <a:extLst>
              <a:ext uri="{FF2B5EF4-FFF2-40B4-BE49-F238E27FC236}">
                <a16:creationId xmlns:a16="http://schemas.microsoft.com/office/drawing/2014/main" id="{298DD342-2097-4BBD-222F-0685E99EAF46}"/>
              </a:ext>
            </a:extLst>
          </p:cNvPr>
          <p:cNvSpPr txBox="1"/>
          <p:nvPr/>
        </p:nvSpPr>
        <p:spPr>
          <a:xfrm>
            <a:off x="8099921" y="4494071"/>
            <a:ext cx="1295714" cy="461665"/>
          </a:xfrm>
          <a:prstGeom prst="rect">
            <a:avLst/>
          </a:prstGeom>
          <a:noFill/>
        </p:spPr>
        <p:txBody>
          <a:bodyPr wrap="square" rtlCol="0" anchor="ctr" anchorCtr="0">
            <a:spAutoFit/>
          </a:bodyPr>
          <a:lstStyle/>
          <a:p>
            <a:pPr algn="ctr"/>
            <a:r>
              <a:rPr lang="es-ES" sz="800" b="1" noProof="0" dirty="0">
                <a:solidFill>
                  <a:schemeClr val="tx2"/>
                </a:solidFill>
                <a:latin typeface="Fira Sans" panose="020B0503050000020004" pitchFamily="34" charset="0"/>
                <a:ea typeface="League Spartan" charset="0"/>
                <a:cs typeface="Poppins" pitchFamily="2" charset="77"/>
              </a:rPr>
              <a:t>Desarrollo de la solución y seguimiento de plan</a:t>
            </a:r>
            <a:endParaRPr lang="es-PE" sz="800" b="1" noProof="0" dirty="0">
              <a:solidFill>
                <a:schemeClr val="tx2"/>
              </a:solidFill>
              <a:latin typeface="Fira Sans" panose="020B0503050000020004" pitchFamily="34" charset="0"/>
              <a:ea typeface="League Spartan" charset="0"/>
              <a:cs typeface="Poppins" pitchFamily="2" charset="77"/>
            </a:endParaRPr>
          </a:p>
        </p:txBody>
      </p:sp>
      <p:sp>
        <p:nvSpPr>
          <p:cNvPr id="41" name="Rectángulo: esquinas redondeadas 40">
            <a:extLst>
              <a:ext uri="{FF2B5EF4-FFF2-40B4-BE49-F238E27FC236}">
                <a16:creationId xmlns:a16="http://schemas.microsoft.com/office/drawing/2014/main" id="{575E60E4-4153-4C18-1D92-979D207C0665}"/>
              </a:ext>
            </a:extLst>
          </p:cNvPr>
          <p:cNvSpPr/>
          <p:nvPr/>
        </p:nvSpPr>
        <p:spPr>
          <a:xfrm>
            <a:off x="5592602" y="4438444"/>
            <a:ext cx="1097385" cy="661731"/>
          </a:xfrm>
          <a:prstGeom prst="roundRect">
            <a:avLst>
              <a:gd name="adj" fmla="val 10037"/>
            </a:avLst>
          </a:prstGeom>
          <a:solidFill>
            <a:srgbClr val="E9693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47" name="Rectángulo: esquinas redondeadas 46">
            <a:extLst>
              <a:ext uri="{FF2B5EF4-FFF2-40B4-BE49-F238E27FC236}">
                <a16:creationId xmlns:a16="http://schemas.microsoft.com/office/drawing/2014/main" id="{DC636A03-A2CE-33EC-5293-06259D4A1D33}"/>
              </a:ext>
            </a:extLst>
          </p:cNvPr>
          <p:cNvSpPr/>
          <p:nvPr/>
        </p:nvSpPr>
        <p:spPr>
          <a:xfrm>
            <a:off x="5638463" y="4486255"/>
            <a:ext cx="1003052" cy="555547"/>
          </a:xfrm>
          <a:prstGeom prst="roundRect">
            <a:avLst>
              <a:gd name="adj" fmla="val 10037"/>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48" name="TextBox 37">
            <a:extLst>
              <a:ext uri="{FF2B5EF4-FFF2-40B4-BE49-F238E27FC236}">
                <a16:creationId xmlns:a16="http://schemas.microsoft.com/office/drawing/2014/main" id="{9213ABD6-CABD-78AB-ED14-39C6C33BE15E}"/>
              </a:ext>
            </a:extLst>
          </p:cNvPr>
          <p:cNvSpPr txBox="1"/>
          <p:nvPr/>
        </p:nvSpPr>
        <p:spPr>
          <a:xfrm>
            <a:off x="5616662" y="4488092"/>
            <a:ext cx="1039177" cy="584775"/>
          </a:xfrm>
          <a:prstGeom prst="rect">
            <a:avLst/>
          </a:prstGeom>
          <a:noFill/>
        </p:spPr>
        <p:txBody>
          <a:bodyPr wrap="square" rtlCol="0" anchor="ctr" anchorCtr="0">
            <a:spAutoFit/>
          </a:bodyPr>
          <a:lstStyle/>
          <a:p>
            <a:pPr algn="ctr"/>
            <a:r>
              <a:rPr lang="es-ES" sz="800" b="1" noProof="0" dirty="0">
                <a:solidFill>
                  <a:schemeClr val="tx2"/>
                </a:solidFill>
                <a:latin typeface="Fira Sans" panose="020B0503050000020004" pitchFamily="34" charset="0"/>
                <a:ea typeface="League Spartan" charset="0"/>
                <a:cs typeface="Poppins" pitchFamily="2" charset="77"/>
              </a:rPr>
              <a:t>Configuración de despliegue de la solución a Productivo</a:t>
            </a:r>
            <a:endParaRPr lang="es-PE" sz="800" b="1" noProof="0" dirty="0">
              <a:solidFill>
                <a:schemeClr val="tx2"/>
              </a:solidFill>
              <a:latin typeface="Fira Sans" panose="020B0503050000020004" pitchFamily="34" charset="0"/>
              <a:ea typeface="League Spartan" charset="0"/>
              <a:cs typeface="Poppins" pitchFamily="2" charset="77"/>
            </a:endParaRPr>
          </a:p>
        </p:txBody>
      </p:sp>
      <p:sp>
        <p:nvSpPr>
          <p:cNvPr id="38" name="Subtitle 2">
            <a:extLst>
              <a:ext uri="{FF2B5EF4-FFF2-40B4-BE49-F238E27FC236}">
                <a16:creationId xmlns:a16="http://schemas.microsoft.com/office/drawing/2014/main" id="{48344B9D-3E76-61BE-CB19-3EAEC5CA5D1B}"/>
              </a:ext>
            </a:extLst>
          </p:cNvPr>
          <p:cNvSpPr txBox="1">
            <a:spLocks/>
          </p:cNvSpPr>
          <p:nvPr/>
        </p:nvSpPr>
        <p:spPr>
          <a:xfrm>
            <a:off x="1976124" y="5270971"/>
            <a:ext cx="1151344" cy="45170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s-PE" sz="800" noProof="0" dirty="0">
                <a:solidFill>
                  <a:schemeClr val="tx1"/>
                </a:solidFill>
                <a:latin typeface="Fira Sans Light" panose="020B0403050000020004" pitchFamily="34" charset="0"/>
                <a:ea typeface="Open Sans Light" panose="020B0306030504020204" pitchFamily="34" charset="0"/>
                <a:cs typeface="Open Sans Light" panose="020B0306030504020204" pitchFamily="34" charset="0"/>
              </a:rPr>
              <a:t>Valida la solución en Producción y entrega </a:t>
            </a:r>
            <a:r>
              <a:rPr lang="es-PE" sz="800" noProof="0" dirty="0" err="1">
                <a:solidFill>
                  <a:schemeClr val="tx1"/>
                </a:solidFill>
                <a:latin typeface="Fira Sans Light" panose="020B0403050000020004" pitchFamily="34" charset="0"/>
                <a:ea typeface="Open Sans Light" panose="020B0306030504020204" pitchFamily="34" charset="0"/>
                <a:cs typeface="Open Sans Light" panose="020B0306030504020204" pitchFamily="34" charset="0"/>
              </a:rPr>
              <a:t>feedback</a:t>
            </a:r>
            <a:endParaRPr lang="es-PE" sz="800" noProof="0" dirty="0">
              <a:solidFill>
                <a:schemeClr val="tx1"/>
              </a:solidFill>
              <a:latin typeface="Fira Sans Light" panose="020B0403050000020004" pitchFamily="34" charset="0"/>
              <a:ea typeface="Open Sans Light" panose="020B0306030504020204" pitchFamily="34" charset="0"/>
              <a:cs typeface="Open Sans Light" panose="020B0306030504020204" pitchFamily="34" charset="0"/>
            </a:endParaRPr>
          </a:p>
        </p:txBody>
      </p:sp>
      <p:sp>
        <p:nvSpPr>
          <p:cNvPr id="127" name="Rectángulo 126">
            <a:extLst>
              <a:ext uri="{FF2B5EF4-FFF2-40B4-BE49-F238E27FC236}">
                <a16:creationId xmlns:a16="http://schemas.microsoft.com/office/drawing/2014/main" id="{63A4372B-900C-D27F-4A31-459AC4C1E24C}"/>
              </a:ext>
            </a:extLst>
          </p:cNvPr>
          <p:cNvSpPr/>
          <p:nvPr/>
        </p:nvSpPr>
        <p:spPr>
          <a:xfrm>
            <a:off x="288409" y="3978657"/>
            <a:ext cx="623949" cy="203915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28" name="Rectángulo: esquinas redondeadas 127">
            <a:extLst>
              <a:ext uri="{FF2B5EF4-FFF2-40B4-BE49-F238E27FC236}">
                <a16:creationId xmlns:a16="http://schemas.microsoft.com/office/drawing/2014/main" id="{C007ADA7-7173-399A-8BDD-BD918BCD1D30}"/>
              </a:ext>
            </a:extLst>
          </p:cNvPr>
          <p:cNvSpPr/>
          <p:nvPr/>
        </p:nvSpPr>
        <p:spPr>
          <a:xfrm>
            <a:off x="3130028" y="4408251"/>
            <a:ext cx="1308141" cy="661731"/>
          </a:xfrm>
          <a:prstGeom prst="roundRect">
            <a:avLst>
              <a:gd name="adj" fmla="val 10037"/>
            </a:avLst>
          </a:prstGeom>
          <a:solidFill>
            <a:srgbClr val="E9693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29" name="Rectángulo: esquinas redondeadas 128">
            <a:extLst>
              <a:ext uri="{FF2B5EF4-FFF2-40B4-BE49-F238E27FC236}">
                <a16:creationId xmlns:a16="http://schemas.microsoft.com/office/drawing/2014/main" id="{93FF818C-F908-BDED-B04C-117E55746333}"/>
              </a:ext>
            </a:extLst>
          </p:cNvPr>
          <p:cNvSpPr/>
          <p:nvPr/>
        </p:nvSpPr>
        <p:spPr>
          <a:xfrm>
            <a:off x="3207111" y="4455702"/>
            <a:ext cx="1164884" cy="555547"/>
          </a:xfrm>
          <a:prstGeom prst="roundRect">
            <a:avLst>
              <a:gd name="adj" fmla="val 10037"/>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130" name="TextBox 37">
            <a:extLst>
              <a:ext uri="{FF2B5EF4-FFF2-40B4-BE49-F238E27FC236}">
                <a16:creationId xmlns:a16="http://schemas.microsoft.com/office/drawing/2014/main" id="{91F0739C-7A81-E966-E368-6860B7E3364C}"/>
              </a:ext>
            </a:extLst>
          </p:cNvPr>
          <p:cNvSpPr txBox="1"/>
          <p:nvPr/>
        </p:nvSpPr>
        <p:spPr>
          <a:xfrm>
            <a:off x="3243898" y="4558121"/>
            <a:ext cx="1066595" cy="369332"/>
          </a:xfrm>
          <a:prstGeom prst="rect">
            <a:avLst/>
          </a:prstGeom>
          <a:noFill/>
        </p:spPr>
        <p:txBody>
          <a:bodyPr wrap="square" rtlCol="0" anchor="ctr" anchorCtr="0">
            <a:spAutoFit/>
          </a:bodyPr>
          <a:lstStyle/>
          <a:p>
            <a:pPr algn="ctr"/>
            <a:r>
              <a:rPr lang="es-ES" sz="900" b="1" dirty="0">
                <a:solidFill>
                  <a:schemeClr val="tx2"/>
                </a:solidFill>
                <a:latin typeface="Fira Sans" panose="020B0503050000020004" pitchFamily="34" charset="0"/>
                <a:ea typeface="League Spartan" charset="0"/>
                <a:cs typeface="Poppins" pitchFamily="2" charset="77"/>
              </a:rPr>
              <a:t>A</a:t>
            </a:r>
            <a:r>
              <a:rPr lang="es-PE" sz="900" b="1" dirty="0">
                <a:solidFill>
                  <a:schemeClr val="tx2"/>
                </a:solidFill>
                <a:latin typeface="Fira Sans" panose="020B0503050000020004" pitchFamily="34" charset="0"/>
                <a:ea typeface="League Spartan" charset="0"/>
                <a:cs typeface="Poppins" pitchFamily="2" charset="77"/>
              </a:rPr>
              <a:t>probar pase a Producción</a:t>
            </a:r>
            <a:endParaRPr lang="es-PE" sz="900" b="1" noProof="0" dirty="0">
              <a:solidFill>
                <a:schemeClr val="tx2"/>
              </a:solidFill>
              <a:latin typeface="Fira Sans" panose="020B0503050000020004" pitchFamily="34" charset="0"/>
              <a:ea typeface="League Spartan" charset="0"/>
              <a:cs typeface="Poppins" pitchFamily="2" charset="77"/>
            </a:endParaRPr>
          </a:p>
        </p:txBody>
      </p:sp>
      <p:grpSp>
        <p:nvGrpSpPr>
          <p:cNvPr id="90" name="Grupo 89">
            <a:extLst>
              <a:ext uri="{FF2B5EF4-FFF2-40B4-BE49-F238E27FC236}">
                <a16:creationId xmlns:a16="http://schemas.microsoft.com/office/drawing/2014/main" id="{1F6E91E4-E066-BE4A-B1EC-63C17A4198B5}"/>
              </a:ext>
            </a:extLst>
          </p:cNvPr>
          <p:cNvGrpSpPr/>
          <p:nvPr/>
        </p:nvGrpSpPr>
        <p:grpSpPr>
          <a:xfrm>
            <a:off x="1572870" y="2622494"/>
            <a:ext cx="490884" cy="492443"/>
            <a:chOff x="4338875" y="1422627"/>
            <a:chExt cx="1156404" cy="987814"/>
          </a:xfrm>
        </p:grpSpPr>
        <p:grpSp>
          <p:nvGrpSpPr>
            <p:cNvPr id="91" name="Group 67">
              <a:extLst>
                <a:ext uri="{FF2B5EF4-FFF2-40B4-BE49-F238E27FC236}">
                  <a16:creationId xmlns:a16="http://schemas.microsoft.com/office/drawing/2014/main" id="{56632B33-DACF-0770-D81F-8723C0FA394D}"/>
                </a:ext>
              </a:extLst>
            </p:cNvPr>
            <p:cNvGrpSpPr/>
            <p:nvPr/>
          </p:nvGrpSpPr>
          <p:grpSpPr>
            <a:xfrm>
              <a:off x="4338875" y="1422627"/>
              <a:ext cx="1156404" cy="987814"/>
              <a:chOff x="10148408" y="2375071"/>
              <a:chExt cx="1852228" cy="1852228"/>
            </a:xfrm>
          </p:grpSpPr>
          <p:sp>
            <p:nvSpPr>
              <p:cNvPr id="93" name="Oval 7">
                <a:extLst>
                  <a:ext uri="{FF2B5EF4-FFF2-40B4-BE49-F238E27FC236}">
                    <a16:creationId xmlns:a16="http://schemas.microsoft.com/office/drawing/2014/main" id="{931A7CE4-9DE1-FA47-D22E-E179D9C021F8}"/>
                  </a:ext>
                </a:extLst>
              </p:cNvPr>
              <p:cNvSpPr/>
              <p:nvPr/>
            </p:nvSpPr>
            <p:spPr>
              <a:xfrm>
                <a:off x="10148408" y="2375071"/>
                <a:ext cx="1852228" cy="1852228"/>
              </a:xfrm>
              <a:prstGeom prst="ellipse">
                <a:avLst/>
              </a:prstGeom>
              <a:solidFill>
                <a:srgbClr val="E969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675" noProof="0">
                  <a:latin typeface="Fira Sans Light" panose="020B0403050000020004" pitchFamily="34" charset="0"/>
                </a:endParaRPr>
              </a:p>
            </p:txBody>
          </p:sp>
          <p:sp>
            <p:nvSpPr>
              <p:cNvPr id="94" name="Oval 61">
                <a:extLst>
                  <a:ext uri="{FF2B5EF4-FFF2-40B4-BE49-F238E27FC236}">
                    <a16:creationId xmlns:a16="http://schemas.microsoft.com/office/drawing/2014/main" id="{81624DE4-5C60-DE7F-7B91-5E3A4EA96E5A}"/>
                  </a:ext>
                </a:extLst>
              </p:cNvPr>
              <p:cNvSpPr/>
              <p:nvPr/>
            </p:nvSpPr>
            <p:spPr>
              <a:xfrm>
                <a:off x="10266546" y="2490193"/>
                <a:ext cx="1615953" cy="16159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675" noProof="0">
                  <a:latin typeface="Fira Sans Light" panose="020B0403050000020004" pitchFamily="34" charset="0"/>
                </a:endParaRPr>
              </a:p>
            </p:txBody>
          </p:sp>
        </p:grpSp>
        <p:sp>
          <p:nvSpPr>
            <p:cNvPr id="92" name="Freeform 18">
              <a:extLst>
                <a:ext uri="{FF2B5EF4-FFF2-40B4-BE49-F238E27FC236}">
                  <a16:creationId xmlns:a16="http://schemas.microsoft.com/office/drawing/2014/main" id="{9CA82C23-8412-BF12-6409-9B1C57FC5524}"/>
                </a:ext>
              </a:extLst>
            </p:cNvPr>
            <p:cNvSpPr>
              <a:spLocks noChangeArrowheads="1"/>
            </p:cNvSpPr>
            <p:nvPr/>
          </p:nvSpPr>
          <p:spPr bwMode="auto">
            <a:xfrm>
              <a:off x="4682811" y="1715222"/>
              <a:ext cx="459853" cy="357027"/>
            </a:xfrm>
            <a:custGeom>
              <a:avLst/>
              <a:gdLst>
                <a:gd name="connsiteX0" fmla="*/ 176895 w 736553"/>
                <a:gd name="connsiteY0" fmla="*/ 422865 h 669451"/>
                <a:gd name="connsiteX1" fmla="*/ 27449 w 736553"/>
                <a:gd name="connsiteY1" fmla="*/ 641882 h 669451"/>
                <a:gd name="connsiteX2" fmla="*/ 709104 w 736553"/>
                <a:gd name="connsiteY2" fmla="*/ 641882 h 669451"/>
                <a:gd name="connsiteX3" fmla="*/ 562708 w 736553"/>
                <a:gd name="connsiteY3" fmla="*/ 422865 h 669451"/>
                <a:gd name="connsiteX4" fmla="*/ 369039 w 736553"/>
                <a:gd name="connsiteY4" fmla="*/ 530076 h 669451"/>
                <a:gd name="connsiteX5" fmla="*/ 176895 w 736553"/>
                <a:gd name="connsiteY5" fmla="*/ 422865 h 669451"/>
                <a:gd name="connsiteX6" fmla="*/ 184710 w 736553"/>
                <a:gd name="connsiteY6" fmla="*/ 392042 h 669451"/>
                <a:gd name="connsiteX7" fmla="*/ 192144 w 736553"/>
                <a:gd name="connsiteY7" fmla="*/ 399891 h 669451"/>
                <a:gd name="connsiteX8" fmla="*/ 369039 w 736553"/>
                <a:gd name="connsiteY8" fmla="*/ 502508 h 669451"/>
                <a:gd name="connsiteX9" fmla="*/ 544409 w 736553"/>
                <a:gd name="connsiteY9" fmla="*/ 399891 h 669451"/>
                <a:gd name="connsiteX10" fmla="*/ 562708 w 736553"/>
                <a:gd name="connsiteY10" fmla="*/ 392233 h 669451"/>
                <a:gd name="connsiteX11" fmla="*/ 736553 w 736553"/>
                <a:gd name="connsiteY11" fmla="*/ 654135 h 669451"/>
                <a:gd name="connsiteX12" fmla="*/ 733503 w 736553"/>
                <a:gd name="connsiteY12" fmla="*/ 663324 h 669451"/>
                <a:gd name="connsiteX13" fmla="*/ 724354 w 736553"/>
                <a:gd name="connsiteY13" fmla="*/ 669451 h 669451"/>
                <a:gd name="connsiteX14" fmla="*/ 13725 w 736553"/>
                <a:gd name="connsiteY14" fmla="*/ 669451 h 669451"/>
                <a:gd name="connsiteX15" fmla="*/ 3050 w 736553"/>
                <a:gd name="connsiteY15" fmla="*/ 663324 h 669451"/>
                <a:gd name="connsiteX16" fmla="*/ 0 w 736553"/>
                <a:gd name="connsiteY16" fmla="*/ 654135 h 669451"/>
                <a:gd name="connsiteX17" fmla="*/ 173845 w 736553"/>
                <a:gd name="connsiteY17" fmla="*/ 392233 h 669451"/>
                <a:gd name="connsiteX18" fmla="*/ 184710 w 736553"/>
                <a:gd name="connsiteY18" fmla="*/ 392042 h 669451"/>
                <a:gd name="connsiteX19" fmla="*/ 369037 w 736553"/>
                <a:gd name="connsiteY19" fmla="*/ 27467 h 669451"/>
                <a:gd name="connsiteX20" fmla="*/ 241946 w 736553"/>
                <a:gd name="connsiteY20" fmla="*/ 155649 h 669451"/>
                <a:gd name="connsiteX21" fmla="*/ 241946 w 736553"/>
                <a:gd name="connsiteY21" fmla="*/ 299091 h 669451"/>
                <a:gd name="connsiteX22" fmla="*/ 369037 w 736553"/>
                <a:gd name="connsiteY22" fmla="*/ 427274 h 669451"/>
                <a:gd name="connsiteX23" fmla="*/ 497641 w 736553"/>
                <a:gd name="connsiteY23" fmla="*/ 299091 h 669451"/>
                <a:gd name="connsiteX24" fmla="*/ 497641 w 736553"/>
                <a:gd name="connsiteY24" fmla="*/ 155649 h 669451"/>
                <a:gd name="connsiteX25" fmla="*/ 369037 w 736553"/>
                <a:gd name="connsiteY25" fmla="*/ 27467 h 669451"/>
                <a:gd name="connsiteX26" fmla="*/ 369037 w 736553"/>
                <a:gd name="connsiteY26" fmla="*/ 0 h 669451"/>
                <a:gd name="connsiteX27" fmla="*/ 521849 w 736553"/>
                <a:gd name="connsiteY27" fmla="*/ 155649 h 669451"/>
                <a:gd name="connsiteX28" fmla="*/ 521849 w 736553"/>
                <a:gd name="connsiteY28" fmla="*/ 299091 h 669451"/>
                <a:gd name="connsiteX29" fmla="*/ 369037 w 736553"/>
                <a:gd name="connsiteY29" fmla="*/ 454741 h 669451"/>
                <a:gd name="connsiteX30" fmla="*/ 214712 w 736553"/>
                <a:gd name="connsiteY30" fmla="*/ 299091 h 669451"/>
                <a:gd name="connsiteX31" fmla="*/ 214712 w 736553"/>
                <a:gd name="connsiteY31" fmla="*/ 155649 h 669451"/>
                <a:gd name="connsiteX32" fmla="*/ 369037 w 736553"/>
                <a:gd name="connsiteY32" fmla="*/ 0 h 669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36553" h="669451">
                  <a:moveTo>
                    <a:pt x="176895" y="422865"/>
                  </a:moveTo>
                  <a:cubicBezTo>
                    <a:pt x="51849" y="485660"/>
                    <a:pt x="30499" y="602061"/>
                    <a:pt x="27449" y="641882"/>
                  </a:cubicBezTo>
                  <a:lnTo>
                    <a:pt x="709104" y="641882"/>
                  </a:lnTo>
                  <a:cubicBezTo>
                    <a:pt x="706054" y="602061"/>
                    <a:pt x="684705" y="485660"/>
                    <a:pt x="562708" y="422865"/>
                  </a:cubicBezTo>
                  <a:cubicBezTo>
                    <a:pt x="521535" y="488723"/>
                    <a:pt x="446812" y="530076"/>
                    <a:pt x="369039" y="530076"/>
                  </a:cubicBezTo>
                  <a:cubicBezTo>
                    <a:pt x="291266" y="530076"/>
                    <a:pt x="218069" y="488723"/>
                    <a:pt x="176895" y="422865"/>
                  </a:cubicBezTo>
                  <a:close/>
                  <a:moveTo>
                    <a:pt x="184710" y="392042"/>
                  </a:moveTo>
                  <a:cubicBezTo>
                    <a:pt x="187951" y="393382"/>
                    <a:pt x="190619" y="396062"/>
                    <a:pt x="192144" y="399891"/>
                  </a:cubicBezTo>
                  <a:cubicBezTo>
                    <a:pt x="228743" y="464218"/>
                    <a:pt x="295841" y="502508"/>
                    <a:pt x="369039" y="502508"/>
                  </a:cubicBezTo>
                  <a:cubicBezTo>
                    <a:pt x="440712" y="502508"/>
                    <a:pt x="509335" y="464218"/>
                    <a:pt x="544409" y="399891"/>
                  </a:cubicBezTo>
                  <a:cubicBezTo>
                    <a:pt x="548984" y="392233"/>
                    <a:pt x="556609" y="389170"/>
                    <a:pt x="562708" y="392233"/>
                  </a:cubicBezTo>
                  <a:cubicBezTo>
                    <a:pt x="735028" y="471876"/>
                    <a:pt x="736553" y="652603"/>
                    <a:pt x="736553" y="654135"/>
                  </a:cubicBezTo>
                  <a:cubicBezTo>
                    <a:pt x="736553" y="660261"/>
                    <a:pt x="736553" y="661793"/>
                    <a:pt x="733503" y="663324"/>
                  </a:cubicBezTo>
                  <a:cubicBezTo>
                    <a:pt x="730453" y="666387"/>
                    <a:pt x="727403" y="669451"/>
                    <a:pt x="724354" y="669451"/>
                  </a:cubicBezTo>
                  <a:lnTo>
                    <a:pt x="13725" y="669451"/>
                  </a:lnTo>
                  <a:cubicBezTo>
                    <a:pt x="9150" y="669451"/>
                    <a:pt x="6100" y="666387"/>
                    <a:pt x="3050" y="663324"/>
                  </a:cubicBezTo>
                  <a:cubicBezTo>
                    <a:pt x="1525" y="661793"/>
                    <a:pt x="0" y="660261"/>
                    <a:pt x="0" y="654135"/>
                  </a:cubicBezTo>
                  <a:cubicBezTo>
                    <a:pt x="0" y="652603"/>
                    <a:pt x="1525" y="471876"/>
                    <a:pt x="173845" y="392233"/>
                  </a:cubicBezTo>
                  <a:cubicBezTo>
                    <a:pt x="177657" y="390702"/>
                    <a:pt x="181470" y="390702"/>
                    <a:pt x="184710" y="392042"/>
                  </a:cubicBezTo>
                  <a:close/>
                  <a:moveTo>
                    <a:pt x="369037" y="27467"/>
                  </a:moveTo>
                  <a:cubicBezTo>
                    <a:pt x="297927" y="27467"/>
                    <a:pt x="241946" y="85454"/>
                    <a:pt x="241946" y="155649"/>
                  </a:cubicBezTo>
                  <a:lnTo>
                    <a:pt x="241946" y="299091"/>
                  </a:lnTo>
                  <a:cubicBezTo>
                    <a:pt x="241946" y="369286"/>
                    <a:pt x="297927" y="427274"/>
                    <a:pt x="369037" y="427274"/>
                  </a:cubicBezTo>
                  <a:cubicBezTo>
                    <a:pt x="438635" y="427274"/>
                    <a:pt x="497641" y="369286"/>
                    <a:pt x="497641" y="299091"/>
                  </a:cubicBezTo>
                  <a:lnTo>
                    <a:pt x="497641" y="155649"/>
                  </a:lnTo>
                  <a:cubicBezTo>
                    <a:pt x="497641" y="85454"/>
                    <a:pt x="438635" y="27467"/>
                    <a:pt x="369037" y="27467"/>
                  </a:cubicBezTo>
                  <a:close/>
                  <a:moveTo>
                    <a:pt x="369037" y="0"/>
                  </a:moveTo>
                  <a:cubicBezTo>
                    <a:pt x="453765" y="0"/>
                    <a:pt x="521849" y="70195"/>
                    <a:pt x="521849" y="155649"/>
                  </a:cubicBezTo>
                  <a:lnTo>
                    <a:pt x="521849" y="299091"/>
                  </a:lnTo>
                  <a:cubicBezTo>
                    <a:pt x="521849" y="383020"/>
                    <a:pt x="453765" y="454741"/>
                    <a:pt x="369037" y="454741"/>
                  </a:cubicBezTo>
                  <a:cubicBezTo>
                    <a:pt x="284310" y="454741"/>
                    <a:pt x="214712" y="383020"/>
                    <a:pt x="214712" y="299091"/>
                  </a:cubicBezTo>
                  <a:lnTo>
                    <a:pt x="214712" y="155649"/>
                  </a:lnTo>
                  <a:cubicBezTo>
                    <a:pt x="214712" y="70195"/>
                    <a:pt x="284310" y="0"/>
                    <a:pt x="369037" y="0"/>
                  </a:cubicBezTo>
                  <a:close/>
                </a:path>
              </a:pathLst>
            </a:custGeom>
            <a:solidFill>
              <a:srgbClr val="E9693B"/>
            </a:solidFill>
            <a:ln>
              <a:noFill/>
            </a:ln>
            <a:effectLst/>
          </p:spPr>
          <p:txBody>
            <a:bodyPr wrap="square" anchor="ctr">
              <a:noAutofit/>
            </a:bodyPr>
            <a:lstStyle/>
            <a:p>
              <a:endParaRPr lang="es-PE" sz="2700" noProof="0">
                <a:solidFill>
                  <a:schemeClr val="tx2"/>
                </a:solidFill>
                <a:latin typeface="Fira Sans Light" panose="020B0403050000020004" pitchFamily="34" charset="0"/>
              </a:endParaRPr>
            </a:p>
          </p:txBody>
        </p:sp>
      </p:grpSp>
      <p:pic>
        <p:nvPicPr>
          <p:cNvPr id="95" name="Imagen 94">
            <a:extLst>
              <a:ext uri="{FF2B5EF4-FFF2-40B4-BE49-F238E27FC236}">
                <a16:creationId xmlns:a16="http://schemas.microsoft.com/office/drawing/2014/main" id="{A02A8393-2FCF-F0C4-23A5-AA2E481FBB7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25577" y="2671274"/>
            <a:ext cx="382321" cy="382321"/>
          </a:xfrm>
          <a:prstGeom prst="rect">
            <a:avLst/>
          </a:prstGeom>
        </p:spPr>
      </p:pic>
      <p:sp>
        <p:nvSpPr>
          <p:cNvPr id="96" name="Subtitle 2">
            <a:extLst>
              <a:ext uri="{FF2B5EF4-FFF2-40B4-BE49-F238E27FC236}">
                <a16:creationId xmlns:a16="http://schemas.microsoft.com/office/drawing/2014/main" id="{E259C8BC-EFCD-306A-8E5D-DD15AD030A28}"/>
              </a:ext>
            </a:extLst>
          </p:cNvPr>
          <p:cNvSpPr txBox="1">
            <a:spLocks/>
          </p:cNvSpPr>
          <p:nvPr/>
        </p:nvSpPr>
        <p:spPr>
          <a:xfrm>
            <a:off x="1232836" y="3422663"/>
            <a:ext cx="1117472" cy="45170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s-PE" sz="800" noProof="0" dirty="0">
                <a:solidFill>
                  <a:schemeClr val="tx1"/>
                </a:solidFill>
                <a:latin typeface="Fira Sans Light" panose="020B0403050000020004" pitchFamily="34" charset="0"/>
                <a:ea typeface="Open Sans Light" panose="020B0306030504020204" pitchFamily="34" charset="0"/>
                <a:cs typeface="Open Sans Light" panose="020B0306030504020204" pitchFamily="34" charset="0"/>
              </a:rPr>
              <a:t>Aprobación de documento de alcance</a:t>
            </a:r>
          </a:p>
        </p:txBody>
      </p:sp>
      <p:sp>
        <p:nvSpPr>
          <p:cNvPr id="122" name="TextBox 37">
            <a:extLst>
              <a:ext uri="{FF2B5EF4-FFF2-40B4-BE49-F238E27FC236}">
                <a16:creationId xmlns:a16="http://schemas.microsoft.com/office/drawing/2014/main" id="{9A97106F-7499-A107-FC40-4CEB2D1BA70D}"/>
              </a:ext>
            </a:extLst>
          </p:cNvPr>
          <p:cNvSpPr txBox="1"/>
          <p:nvPr/>
        </p:nvSpPr>
        <p:spPr>
          <a:xfrm>
            <a:off x="1236481" y="3205654"/>
            <a:ext cx="1059907" cy="246221"/>
          </a:xfrm>
          <a:prstGeom prst="rect">
            <a:avLst/>
          </a:prstGeom>
          <a:noFill/>
        </p:spPr>
        <p:txBody>
          <a:bodyPr wrap="none" rtlCol="0" anchor="ctr" anchorCtr="0">
            <a:spAutoFit/>
          </a:bodyPr>
          <a:lstStyle/>
          <a:p>
            <a:pPr algn="ctr"/>
            <a:r>
              <a:rPr lang="es-PE" sz="1000" b="1" noProof="0" dirty="0" err="1">
                <a:solidFill>
                  <a:schemeClr val="tx2"/>
                </a:solidFill>
                <a:latin typeface="Fira Sans" panose="020B0503050000020004" pitchFamily="34" charset="0"/>
                <a:ea typeface="League Spartan" charset="0"/>
                <a:cs typeface="Poppins" pitchFamily="2" charset="77"/>
              </a:rPr>
              <a:t>Product</a:t>
            </a:r>
            <a:r>
              <a:rPr lang="es-PE" sz="1000" b="1" noProof="0" dirty="0">
                <a:solidFill>
                  <a:schemeClr val="tx2"/>
                </a:solidFill>
                <a:latin typeface="Fira Sans" panose="020B0503050000020004" pitchFamily="34" charset="0"/>
                <a:ea typeface="League Spartan" charset="0"/>
                <a:cs typeface="Poppins" pitchFamily="2" charset="77"/>
              </a:rPr>
              <a:t> </a:t>
            </a:r>
            <a:r>
              <a:rPr lang="es-PE" sz="1000" b="1" noProof="0" dirty="0" err="1">
                <a:solidFill>
                  <a:schemeClr val="tx2"/>
                </a:solidFill>
                <a:latin typeface="Fira Sans" panose="020B0503050000020004" pitchFamily="34" charset="0"/>
                <a:ea typeface="League Spartan" charset="0"/>
                <a:cs typeface="Poppins" pitchFamily="2" charset="77"/>
              </a:rPr>
              <a:t>Owner</a:t>
            </a:r>
            <a:endParaRPr lang="es-PE" sz="1000" b="1" noProof="0" dirty="0">
              <a:solidFill>
                <a:schemeClr val="tx2"/>
              </a:solidFill>
              <a:latin typeface="Fira Sans" panose="020B0503050000020004" pitchFamily="34" charset="0"/>
              <a:ea typeface="League Spartan" charset="0"/>
              <a:cs typeface="Poppins" pitchFamily="2" charset="77"/>
            </a:endParaRPr>
          </a:p>
        </p:txBody>
      </p:sp>
      <p:pic>
        <p:nvPicPr>
          <p:cNvPr id="123" name="Imagen 122">
            <a:extLst>
              <a:ext uri="{FF2B5EF4-FFF2-40B4-BE49-F238E27FC236}">
                <a16:creationId xmlns:a16="http://schemas.microsoft.com/office/drawing/2014/main" id="{E9F65BF6-4FE2-8D30-EF7A-4DB3566ED8A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26500" y="2566351"/>
            <a:ext cx="226987" cy="226987"/>
          </a:xfrm>
          <a:prstGeom prst="rect">
            <a:avLst/>
          </a:prstGeom>
        </p:spPr>
      </p:pic>
      <p:sp>
        <p:nvSpPr>
          <p:cNvPr id="124" name="Rectángulo: esquinas redondeadas 123">
            <a:extLst>
              <a:ext uri="{FF2B5EF4-FFF2-40B4-BE49-F238E27FC236}">
                <a16:creationId xmlns:a16="http://schemas.microsoft.com/office/drawing/2014/main" id="{D065C66A-709F-B67E-AFB6-C618A35ED9E2}"/>
              </a:ext>
            </a:extLst>
          </p:cNvPr>
          <p:cNvSpPr/>
          <p:nvPr/>
        </p:nvSpPr>
        <p:spPr>
          <a:xfrm>
            <a:off x="9105171" y="2512973"/>
            <a:ext cx="1124019" cy="661731"/>
          </a:xfrm>
          <a:prstGeom prst="roundRect">
            <a:avLst>
              <a:gd name="adj" fmla="val 10037"/>
            </a:avLst>
          </a:prstGeom>
          <a:solidFill>
            <a:srgbClr val="E9693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25" name="Rectángulo: esquinas redondeadas 124">
            <a:extLst>
              <a:ext uri="{FF2B5EF4-FFF2-40B4-BE49-F238E27FC236}">
                <a16:creationId xmlns:a16="http://schemas.microsoft.com/office/drawing/2014/main" id="{A4D01DBE-6A9C-1C29-3186-361A23661791}"/>
              </a:ext>
            </a:extLst>
          </p:cNvPr>
          <p:cNvSpPr/>
          <p:nvPr/>
        </p:nvSpPr>
        <p:spPr>
          <a:xfrm>
            <a:off x="9151031" y="2560784"/>
            <a:ext cx="1013583" cy="555547"/>
          </a:xfrm>
          <a:prstGeom prst="roundRect">
            <a:avLst>
              <a:gd name="adj" fmla="val 10037"/>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126" name="TextBox 37">
            <a:extLst>
              <a:ext uri="{FF2B5EF4-FFF2-40B4-BE49-F238E27FC236}">
                <a16:creationId xmlns:a16="http://schemas.microsoft.com/office/drawing/2014/main" id="{009A58F1-5762-D4B8-F38A-D4D918C383FB}"/>
              </a:ext>
            </a:extLst>
          </p:cNvPr>
          <p:cNvSpPr txBox="1"/>
          <p:nvPr/>
        </p:nvSpPr>
        <p:spPr>
          <a:xfrm>
            <a:off x="9074781" y="2613006"/>
            <a:ext cx="1124019" cy="461665"/>
          </a:xfrm>
          <a:prstGeom prst="rect">
            <a:avLst/>
          </a:prstGeom>
          <a:noFill/>
        </p:spPr>
        <p:txBody>
          <a:bodyPr wrap="square" rtlCol="0" anchor="ctr" anchorCtr="0">
            <a:spAutoFit/>
          </a:bodyPr>
          <a:lstStyle/>
          <a:p>
            <a:pPr algn="ctr"/>
            <a:r>
              <a:rPr lang="es-ES" sz="800" b="1" noProof="0" dirty="0">
                <a:solidFill>
                  <a:schemeClr val="tx2"/>
                </a:solidFill>
                <a:latin typeface="Fira Sans" panose="020B0503050000020004" pitchFamily="34" charset="0"/>
                <a:ea typeface="League Spartan" charset="0"/>
                <a:cs typeface="Poppins" pitchFamily="2" charset="77"/>
              </a:rPr>
              <a:t>Planificar plan de trabajo y preparar </a:t>
            </a:r>
            <a:r>
              <a:rPr lang="es-ES" sz="800" b="1" noProof="0" dirty="0" err="1">
                <a:solidFill>
                  <a:schemeClr val="tx2"/>
                </a:solidFill>
                <a:latin typeface="Fira Sans" panose="020B0503050000020004" pitchFamily="34" charset="0"/>
                <a:ea typeface="League Spartan" charset="0"/>
                <a:cs typeface="Poppins" pitchFamily="2" charset="77"/>
              </a:rPr>
              <a:t>kick</a:t>
            </a:r>
            <a:r>
              <a:rPr lang="es-ES" sz="800" b="1" noProof="0" dirty="0">
                <a:solidFill>
                  <a:schemeClr val="tx2"/>
                </a:solidFill>
                <a:latin typeface="Fira Sans" panose="020B0503050000020004" pitchFamily="34" charset="0"/>
                <a:ea typeface="League Spartan" charset="0"/>
                <a:cs typeface="Poppins" pitchFamily="2" charset="77"/>
              </a:rPr>
              <a:t>-off </a:t>
            </a:r>
            <a:endParaRPr lang="es-PE" sz="800" b="1" noProof="0" dirty="0">
              <a:solidFill>
                <a:schemeClr val="tx2"/>
              </a:solidFill>
              <a:latin typeface="Fira Sans" panose="020B0503050000020004" pitchFamily="34" charset="0"/>
              <a:ea typeface="League Spartan" charset="0"/>
              <a:cs typeface="Poppins" pitchFamily="2" charset="77"/>
            </a:endParaRPr>
          </a:p>
        </p:txBody>
      </p:sp>
      <p:grpSp>
        <p:nvGrpSpPr>
          <p:cNvPr id="118" name="Group 74">
            <a:extLst>
              <a:ext uri="{FF2B5EF4-FFF2-40B4-BE49-F238E27FC236}">
                <a16:creationId xmlns:a16="http://schemas.microsoft.com/office/drawing/2014/main" id="{6D85AB51-60FC-B7F0-654F-EEBC82237CB5}"/>
              </a:ext>
            </a:extLst>
          </p:cNvPr>
          <p:cNvGrpSpPr/>
          <p:nvPr/>
        </p:nvGrpSpPr>
        <p:grpSpPr>
          <a:xfrm>
            <a:off x="849789" y="4244650"/>
            <a:ext cx="1156404" cy="987814"/>
            <a:chOff x="17667121" y="8928271"/>
            <a:chExt cx="1852228" cy="1852228"/>
          </a:xfrm>
        </p:grpSpPr>
        <p:sp>
          <p:nvSpPr>
            <p:cNvPr id="119" name="Oval 23">
              <a:extLst>
                <a:ext uri="{FF2B5EF4-FFF2-40B4-BE49-F238E27FC236}">
                  <a16:creationId xmlns:a16="http://schemas.microsoft.com/office/drawing/2014/main" id="{A274E9BC-77DF-B337-1BE9-DD157B7563C5}"/>
                </a:ext>
              </a:extLst>
            </p:cNvPr>
            <p:cNvSpPr/>
            <p:nvPr/>
          </p:nvSpPr>
          <p:spPr>
            <a:xfrm>
              <a:off x="17667121" y="8928271"/>
              <a:ext cx="1852228" cy="1852228"/>
            </a:xfrm>
            <a:prstGeom prst="ellipse">
              <a:avLst/>
            </a:prstGeom>
            <a:gradFill>
              <a:gsLst>
                <a:gs pos="0">
                  <a:schemeClr val="accent1">
                    <a:lumMod val="5000"/>
                    <a:lumOff val="95000"/>
                  </a:schemeClr>
                </a:gs>
                <a:gs pos="74000">
                  <a:srgbClr val="E9693B"/>
                </a:gs>
                <a:gs pos="83000">
                  <a:srgbClr val="E9693B"/>
                </a:gs>
                <a:gs pos="100000">
                  <a:srgbClr val="E9693B"/>
                </a:gs>
              </a:gsLst>
              <a:lin ang="5400000" scaled="1"/>
            </a:gradFill>
            <a:ln>
              <a:solidFill>
                <a:srgbClr val="E9693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675" noProof="0">
                <a:latin typeface="Fira Sans Light" panose="020B0403050000020004" pitchFamily="34" charset="0"/>
              </a:endParaRPr>
            </a:p>
          </p:txBody>
        </p:sp>
        <p:sp>
          <p:nvSpPr>
            <p:cNvPr id="120" name="Oval 73">
              <a:extLst>
                <a:ext uri="{FF2B5EF4-FFF2-40B4-BE49-F238E27FC236}">
                  <a16:creationId xmlns:a16="http://schemas.microsoft.com/office/drawing/2014/main" id="{D76BCA62-549F-B59D-F3BB-FBC992C4AAFC}"/>
                </a:ext>
              </a:extLst>
            </p:cNvPr>
            <p:cNvSpPr/>
            <p:nvPr/>
          </p:nvSpPr>
          <p:spPr>
            <a:xfrm>
              <a:off x="17780561" y="9046407"/>
              <a:ext cx="1615953" cy="1615953"/>
            </a:xfrm>
            <a:prstGeom prst="ellipse">
              <a:avLst/>
            </a:prstGeom>
            <a:solidFill>
              <a:schemeClr val="bg1"/>
            </a:solidFill>
            <a:ln>
              <a:solidFill>
                <a:srgbClr val="E9693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675" noProof="0">
                <a:latin typeface="Fira Sans Light" panose="020B0403050000020004" pitchFamily="34" charset="0"/>
              </a:endParaRPr>
            </a:p>
          </p:txBody>
        </p:sp>
      </p:grpSp>
      <p:sp>
        <p:nvSpPr>
          <p:cNvPr id="121" name="TextBox 52">
            <a:extLst>
              <a:ext uri="{FF2B5EF4-FFF2-40B4-BE49-F238E27FC236}">
                <a16:creationId xmlns:a16="http://schemas.microsoft.com/office/drawing/2014/main" id="{9A7D6C36-7590-CB3D-5524-F2AF671C588E}"/>
              </a:ext>
            </a:extLst>
          </p:cNvPr>
          <p:cNvSpPr txBox="1"/>
          <p:nvPr/>
        </p:nvSpPr>
        <p:spPr>
          <a:xfrm>
            <a:off x="845805" y="4569350"/>
            <a:ext cx="1156405" cy="369332"/>
          </a:xfrm>
          <a:prstGeom prst="rect">
            <a:avLst/>
          </a:prstGeom>
          <a:noFill/>
        </p:spPr>
        <p:txBody>
          <a:bodyPr wrap="square" rtlCol="0" anchor="ctr" anchorCtr="0">
            <a:spAutoFit/>
          </a:bodyPr>
          <a:lstStyle/>
          <a:p>
            <a:pPr algn="ctr"/>
            <a:r>
              <a:rPr lang="es-PE" sz="900" b="1" dirty="0">
                <a:solidFill>
                  <a:schemeClr val="tx1">
                    <a:lumMod val="75000"/>
                    <a:lumOff val="25000"/>
                  </a:schemeClr>
                </a:solidFill>
                <a:latin typeface="Fira Sans" panose="020B0503050000020004" pitchFamily="34" charset="0"/>
                <a:cs typeface="Poppins" pitchFamily="2" charset="77"/>
              </a:rPr>
              <a:t>MANTENIMIENTO DE LA SOLUCIÓN</a:t>
            </a:r>
          </a:p>
        </p:txBody>
      </p:sp>
      <p:pic>
        <p:nvPicPr>
          <p:cNvPr id="3" name="Imagen 2" descr="Imagen que contiene Logotipo&#10;&#10;Descripción generada automáticamente">
            <a:extLst>
              <a:ext uri="{FF2B5EF4-FFF2-40B4-BE49-F238E27FC236}">
                <a16:creationId xmlns:a16="http://schemas.microsoft.com/office/drawing/2014/main" id="{22467106-3091-CFB7-FD63-07308B36407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0800000">
            <a:off x="5081070" y="5797825"/>
            <a:ext cx="7110930" cy="1060175"/>
          </a:xfrm>
          <a:prstGeom prst="rect">
            <a:avLst/>
          </a:prstGeom>
        </p:spPr>
      </p:pic>
    </p:spTree>
    <p:extLst>
      <p:ext uri="{BB962C8B-B14F-4D97-AF65-F5344CB8AC3E}">
        <p14:creationId xmlns:p14="http://schemas.microsoft.com/office/powerpoint/2010/main" val="40087823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69392B-5282-6C94-3014-80F1906AAD6E}"/>
            </a:ext>
          </a:extLst>
        </p:cNvPr>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2E86EF7D-64F0-BAAB-C572-2A994ABDD5C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to 2" hidden="1">
                        <a:extLst>
                          <a:ext uri="{FF2B5EF4-FFF2-40B4-BE49-F238E27FC236}">
                            <a16:creationId xmlns:a16="http://schemas.microsoft.com/office/drawing/2014/main" id="{2E86EF7D-64F0-BAAB-C572-2A994ABDD5C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AA1D8403-2030-57E1-1601-BBF47CF17545}"/>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2800" b="1" i="0" u="none" strike="noStrike" kern="1200" cap="none" spc="0" normalizeH="0" baseline="0" noProof="0">
              <a:ln>
                <a:noFill/>
              </a:ln>
              <a:solidFill>
                <a:prstClr val="black"/>
              </a:solidFill>
              <a:effectLst/>
              <a:uLnTx/>
              <a:uFillTx/>
              <a:latin typeface="Calibri" panose="020F0502020204030204" pitchFamily="34" charset="0"/>
              <a:ea typeface="+mn-ea"/>
              <a:cs typeface="+mn-cs"/>
              <a:sym typeface="Calibri" panose="020F0502020204030204" pitchFamily="34" charset="0"/>
            </a:endParaRPr>
          </a:p>
        </p:txBody>
      </p:sp>
      <p:pic>
        <p:nvPicPr>
          <p:cNvPr id="38" name="Imagen 37" descr="Imagen que contiene Logotipo&#10;&#10;Descripción generada automáticamente">
            <a:extLst>
              <a:ext uri="{FF2B5EF4-FFF2-40B4-BE49-F238E27FC236}">
                <a16:creationId xmlns:a16="http://schemas.microsoft.com/office/drawing/2014/main" id="{6997D97B-D8B8-4C58-EE55-A4A995D5A73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2605"/>
            <a:ext cx="7110930" cy="1060175"/>
          </a:xfrm>
          <a:prstGeom prst="rect">
            <a:avLst/>
          </a:prstGeom>
        </p:spPr>
      </p:pic>
      <p:pic>
        <p:nvPicPr>
          <p:cNvPr id="6" name="Imagen 5" descr="Logotipo&#10;&#10;Descripción generada automáticamente">
            <a:extLst>
              <a:ext uri="{FF2B5EF4-FFF2-40B4-BE49-F238E27FC236}">
                <a16:creationId xmlns:a16="http://schemas.microsoft.com/office/drawing/2014/main" id="{6B04FDD2-8BB7-80BF-A098-D9F3E6B3162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29800" y="530086"/>
            <a:ext cx="1905000" cy="698500"/>
          </a:xfrm>
          <a:prstGeom prst="rect">
            <a:avLst/>
          </a:prstGeom>
        </p:spPr>
      </p:pic>
      <p:sp>
        <p:nvSpPr>
          <p:cNvPr id="2" name="CuadroTexto 1">
            <a:extLst>
              <a:ext uri="{FF2B5EF4-FFF2-40B4-BE49-F238E27FC236}">
                <a16:creationId xmlns:a16="http://schemas.microsoft.com/office/drawing/2014/main" id="{C72A4C9F-9ECD-7AAC-83D5-113759DFFC42}"/>
              </a:ext>
            </a:extLst>
          </p:cNvPr>
          <p:cNvSpPr txBox="1"/>
          <p:nvPr/>
        </p:nvSpPr>
        <p:spPr>
          <a:xfrm>
            <a:off x="1254910" y="282739"/>
            <a:ext cx="10503091" cy="428875"/>
          </a:xfrm>
          <a:prstGeom prst="rect">
            <a:avLst/>
          </a:prstGeom>
        </p:spPr>
        <p:txBody>
          <a:bodyPr vert="horz" lIns="121920" tIns="60960" rIns="121920" bIns="60960" rtlCol="0" anchor="ctr">
            <a:noAutofit/>
          </a:bodyPr>
          <a:lstStyle/>
          <a:p>
            <a:pPr>
              <a:spcBef>
                <a:spcPct val="20000"/>
              </a:spcBef>
            </a:pPr>
            <a:r>
              <a:rPr lang="es-ES" sz="2400" b="1" dirty="0" err="1">
                <a:solidFill>
                  <a:srgbClr val="3FA7A7"/>
                </a:solidFill>
                <a:latin typeface="Source Sans Pro" panose="020B0503030403020204" pitchFamily="34" charset="0"/>
                <a:ea typeface="Source Sans Pro" panose="020B0503030403020204" pitchFamily="34" charset="0"/>
                <a:cs typeface="Open Sans"/>
              </a:rPr>
              <a:t>Checklist</a:t>
            </a:r>
            <a:r>
              <a:rPr lang="es-ES" sz="2400" b="1" dirty="0">
                <a:solidFill>
                  <a:srgbClr val="3FA7A7"/>
                </a:solidFill>
                <a:latin typeface="Source Sans Pro" panose="020B0503030403020204" pitchFamily="34" charset="0"/>
                <a:ea typeface="Source Sans Pro" panose="020B0503030403020204" pitchFamily="34" charset="0"/>
                <a:cs typeface="Open Sans"/>
              </a:rPr>
              <a:t> de Gobierno de TI</a:t>
            </a:r>
            <a:endParaRPr lang="es-PE" sz="3200" b="1" dirty="0">
              <a:solidFill>
                <a:srgbClr val="3FA7A7"/>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Imagen 4" descr="Imagen que contiene Logotipo&#10;&#10;Descripción generada automáticamente">
            <a:extLst>
              <a:ext uri="{FF2B5EF4-FFF2-40B4-BE49-F238E27FC236}">
                <a16:creationId xmlns:a16="http://schemas.microsoft.com/office/drawing/2014/main" id="{B6FCBBCB-AA59-13B3-DB35-3D54518BBAB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10800000">
            <a:off x="5081070" y="5797825"/>
            <a:ext cx="7110930" cy="1060175"/>
          </a:xfrm>
          <a:prstGeom prst="rect">
            <a:avLst/>
          </a:prstGeom>
        </p:spPr>
      </p:pic>
      <p:sp>
        <p:nvSpPr>
          <p:cNvPr id="46" name="TextBox 55">
            <a:extLst>
              <a:ext uri="{FF2B5EF4-FFF2-40B4-BE49-F238E27FC236}">
                <a16:creationId xmlns:a16="http://schemas.microsoft.com/office/drawing/2014/main" id="{00C682CD-B978-223E-C3DB-C15CCAE10166}"/>
              </a:ext>
            </a:extLst>
          </p:cNvPr>
          <p:cNvSpPr txBox="1"/>
          <p:nvPr/>
        </p:nvSpPr>
        <p:spPr>
          <a:xfrm>
            <a:off x="1801668" y="978136"/>
            <a:ext cx="596445" cy="523220"/>
          </a:xfrm>
          <a:prstGeom prst="rect">
            <a:avLst/>
          </a:prstGeom>
          <a:noFill/>
        </p:spPr>
        <p:txBody>
          <a:bodyPr wrap="square" lIns="91440" tIns="45720" rIns="91440" bIns="45720" rtlCol="0" anchor="ctr" anchorCtr="0">
            <a:spAutoFit/>
          </a:bodyPr>
          <a:lstStyle/>
          <a:p>
            <a:pPr defTabSz="1218786"/>
            <a:r>
              <a:rPr lang="en-US" sz="1400">
                <a:solidFill>
                  <a:schemeClr val="bg1"/>
                </a:solidFill>
                <a:latin typeface="Tenorite Display"/>
                <a:ea typeface="Source Sans Pro"/>
                <a:cs typeface="Poppins"/>
              </a:rPr>
              <a:t>FASE</a:t>
            </a:r>
            <a:r>
              <a:rPr lang="en-US" sz="1400">
                <a:solidFill>
                  <a:srgbClr val="404040"/>
                </a:solidFill>
                <a:latin typeface="Tenorite Display"/>
                <a:ea typeface="Source Sans Pro"/>
                <a:cs typeface="Poppins"/>
              </a:rPr>
              <a:t> </a:t>
            </a:r>
            <a:r>
              <a:rPr lang="en-US" sz="1400">
                <a:solidFill>
                  <a:schemeClr val="bg1"/>
                </a:solidFill>
                <a:latin typeface="Tenorite Display"/>
                <a:ea typeface="Source Sans Pro"/>
                <a:cs typeface="Poppins"/>
              </a:rPr>
              <a:t>I</a:t>
            </a:r>
          </a:p>
        </p:txBody>
      </p:sp>
      <p:sp>
        <p:nvSpPr>
          <p:cNvPr id="47" name="Subtitle 2">
            <a:extLst>
              <a:ext uri="{FF2B5EF4-FFF2-40B4-BE49-F238E27FC236}">
                <a16:creationId xmlns:a16="http://schemas.microsoft.com/office/drawing/2014/main" id="{3C7C205E-9803-7E65-8816-C23E13F11DCA}"/>
              </a:ext>
            </a:extLst>
          </p:cNvPr>
          <p:cNvSpPr txBox="1">
            <a:spLocks/>
          </p:cNvSpPr>
          <p:nvPr/>
        </p:nvSpPr>
        <p:spPr>
          <a:xfrm>
            <a:off x="1380012" y="1767250"/>
            <a:ext cx="1707465" cy="535658"/>
          </a:xfrm>
          <a:prstGeom prst="rect">
            <a:avLst/>
          </a:prstGeom>
        </p:spPr>
        <p:txBody>
          <a:bodyPr vert="horz" wrap="square" lIns="108773" tIns="54387" rIns="108773" bIns="54387"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ctr"/>
            <a:r>
              <a:rPr lang="es-MX" sz="1200">
                <a:solidFill>
                  <a:schemeClr val="bg1"/>
                </a:solidFill>
                <a:latin typeface="Tenorite Display"/>
                <a:ea typeface="Source sans pro"/>
              </a:rPr>
              <a:t>Planificación y Preparación</a:t>
            </a:r>
          </a:p>
        </p:txBody>
      </p:sp>
      <p:sp>
        <p:nvSpPr>
          <p:cNvPr id="48" name="Freeform 55">
            <a:extLst>
              <a:ext uri="{FF2B5EF4-FFF2-40B4-BE49-F238E27FC236}">
                <a16:creationId xmlns:a16="http://schemas.microsoft.com/office/drawing/2014/main" id="{B00F57E9-67B2-633D-98D5-63F6D188238D}"/>
              </a:ext>
            </a:extLst>
          </p:cNvPr>
          <p:cNvSpPr>
            <a:spLocks noChangeArrowheads="1"/>
          </p:cNvSpPr>
          <p:nvPr/>
        </p:nvSpPr>
        <p:spPr bwMode="auto">
          <a:xfrm>
            <a:off x="1889213" y="881186"/>
            <a:ext cx="408000" cy="408000"/>
          </a:xfrm>
          <a:custGeom>
            <a:avLst/>
            <a:gdLst>
              <a:gd name="T0" fmla="*/ 205482 w 601"/>
              <a:gd name="T1" fmla="*/ 218715 h 609"/>
              <a:gd name="T2" fmla="*/ 205482 w 601"/>
              <a:gd name="T3" fmla="*/ 218715 h 609"/>
              <a:gd name="T4" fmla="*/ 10059 w 601"/>
              <a:gd name="T5" fmla="*/ 218715 h 609"/>
              <a:gd name="T6" fmla="*/ 0 w 601"/>
              <a:gd name="T7" fmla="*/ 208643 h 609"/>
              <a:gd name="T8" fmla="*/ 0 w 601"/>
              <a:gd name="T9" fmla="*/ 38131 h 609"/>
              <a:gd name="T10" fmla="*/ 10059 w 601"/>
              <a:gd name="T11" fmla="*/ 28059 h 609"/>
              <a:gd name="T12" fmla="*/ 30176 w 601"/>
              <a:gd name="T13" fmla="*/ 28059 h 609"/>
              <a:gd name="T14" fmla="*/ 30176 w 601"/>
              <a:gd name="T15" fmla="*/ 38131 h 609"/>
              <a:gd name="T16" fmla="*/ 53167 w 601"/>
              <a:gd name="T17" fmla="*/ 61154 h 609"/>
              <a:gd name="T18" fmla="*/ 75799 w 601"/>
              <a:gd name="T19" fmla="*/ 38131 h 609"/>
              <a:gd name="T20" fmla="*/ 75799 w 601"/>
              <a:gd name="T21" fmla="*/ 28059 h 609"/>
              <a:gd name="T22" fmla="*/ 136868 w 601"/>
              <a:gd name="T23" fmla="*/ 28059 h 609"/>
              <a:gd name="T24" fmla="*/ 136868 w 601"/>
              <a:gd name="T25" fmla="*/ 38131 h 609"/>
              <a:gd name="T26" fmla="*/ 162374 w 601"/>
              <a:gd name="T27" fmla="*/ 61154 h 609"/>
              <a:gd name="T28" fmla="*/ 185006 w 601"/>
              <a:gd name="T29" fmla="*/ 38131 h 609"/>
              <a:gd name="T30" fmla="*/ 185006 w 601"/>
              <a:gd name="T31" fmla="*/ 28059 h 609"/>
              <a:gd name="T32" fmla="*/ 205482 w 601"/>
              <a:gd name="T33" fmla="*/ 28059 h 609"/>
              <a:gd name="T34" fmla="*/ 215541 w 601"/>
              <a:gd name="T35" fmla="*/ 38131 h 609"/>
              <a:gd name="T36" fmla="*/ 215541 w 601"/>
              <a:gd name="T37" fmla="*/ 208643 h 609"/>
              <a:gd name="T38" fmla="*/ 205482 w 601"/>
              <a:gd name="T39" fmla="*/ 218715 h 609"/>
              <a:gd name="T40" fmla="*/ 195424 w 601"/>
              <a:gd name="T41" fmla="*/ 81299 h 609"/>
              <a:gd name="T42" fmla="*/ 195424 w 601"/>
              <a:gd name="T43" fmla="*/ 81299 h 609"/>
              <a:gd name="T44" fmla="*/ 20117 w 601"/>
              <a:gd name="T45" fmla="*/ 81299 h 609"/>
              <a:gd name="T46" fmla="*/ 20117 w 601"/>
              <a:gd name="T47" fmla="*/ 198211 h 609"/>
              <a:gd name="T48" fmla="*/ 195424 w 601"/>
              <a:gd name="T49" fmla="*/ 198211 h 609"/>
              <a:gd name="T50" fmla="*/ 195424 w 601"/>
              <a:gd name="T51" fmla="*/ 81299 h 609"/>
              <a:gd name="T52" fmla="*/ 73284 w 601"/>
              <a:gd name="T53" fmla="*/ 129502 h 609"/>
              <a:gd name="T54" fmla="*/ 73284 w 601"/>
              <a:gd name="T55" fmla="*/ 129502 h 609"/>
              <a:gd name="T56" fmla="*/ 81187 w 601"/>
              <a:gd name="T57" fmla="*/ 132021 h 609"/>
              <a:gd name="T58" fmla="*/ 96275 w 601"/>
              <a:gd name="T59" fmla="*/ 150007 h 609"/>
              <a:gd name="T60" fmla="*/ 136868 w 601"/>
              <a:gd name="T61" fmla="*/ 109358 h 609"/>
              <a:gd name="T62" fmla="*/ 144412 w 601"/>
              <a:gd name="T63" fmla="*/ 106840 h 609"/>
              <a:gd name="T64" fmla="*/ 154830 w 601"/>
              <a:gd name="T65" fmla="*/ 116912 h 609"/>
              <a:gd name="T66" fmla="*/ 152315 w 601"/>
              <a:gd name="T67" fmla="*/ 121948 h 609"/>
              <a:gd name="T68" fmla="*/ 103819 w 601"/>
              <a:gd name="T69" fmla="*/ 170512 h 609"/>
              <a:gd name="T70" fmla="*/ 96275 w 601"/>
              <a:gd name="T71" fmla="*/ 173030 h 609"/>
              <a:gd name="T72" fmla="*/ 91246 w 601"/>
              <a:gd name="T73" fmla="*/ 170512 h 609"/>
              <a:gd name="T74" fmla="*/ 65740 w 601"/>
              <a:gd name="T75" fmla="*/ 147489 h 609"/>
              <a:gd name="T76" fmla="*/ 63225 w 601"/>
              <a:gd name="T77" fmla="*/ 139935 h 609"/>
              <a:gd name="T78" fmla="*/ 73284 w 601"/>
              <a:gd name="T79" fmla="*/ 129502 h 609"/>
              <a:gd name="T80" fmla="*/ 162374 w 601"/>
              <a:gd name="T81" fmla="*/ 48204 h 609"/>
              <a:gd name="T82" fmla="*/ 162374 w 601"/>
              <a:gd name="T83" fmla="*/ 48204 h 609"/>
              <a:gd name="T84" fmla="*/ 152315 w 601"/>
              <a:gd name="T85" fmla="*/ 38131 h 609"/>
              <a:gd name="T86" fmla="*/ 152315 w 601"/>
              <a:gd name="T87" fmla="*/ 10072 h 609"/>
              <a:gd name="T88" fmla="*/ 162374 w 601"/>
              <a:gd name="T89" fmla="*/ 0 h 609"/>
              <a:gd name="T90" fmla="*/ 172433 w 601"/>
              <a:gd name="T91" fmla="*/ 10072 h 609"/>
              <a:gd name="T92" fmla="*/ 172433 w 601"/>
              <a:gd name="T93" fmla="*/ 38131 h 609"/>
              <a:gd name="T94" fmla="*/ 162374 w 601"/>
              <a:gd name="T95" fmla="*/ 48204 h 609"/>
              <a:gd name="T96" fmla="*/ 53167 w 601"/>
              <a:gd name="T97" fmla="*/ 48204 h 609"/>
              <a:gd name="T98" fmla="*/ 53167 w 601"/>
              <a:gd name="T99" fmla="*/ 48204 h 609"/>
              <a:gd name="T100" fmla="*/ 43108 w 601"/>
              <a:gd name="T101" fmla="*/ 38131 h 609"/>
              <a:gd name="T102" fmla="*/ 43108 w 601"/>
              <a:gd name="T103" fmla="*/ 10072 h 609"/>
              <a:gd name="T104" fmla="*/ 53167 w 601"/>
              <a:gd name="T105" fmla="*/ 0 h 609"/>
              <a:gd name="T106" fmla="*/ 63225 w 601"/>
              <a:gd name="T107" fmla="*/ 10072 h 609"/>
              <a:gd name="T108" fmla="*/ 63225 w 601"/>
              <a:gd name="T109" fmla="*/ 38131 h 609"/>
              <a:gd name="T110" fmla="*/ 53167 w 601"/>
              <a:gd name="T111" fmla="*/ 48204 h 60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01" h="609">
                <a:moveTo>
                  <a:pt x="572" y="608"/>
                </a:moveTo>
                <a:lnTo>
                  <a:pt x="572" y="608"/>
                </a:lnTo>
                <a:cubicBezTo>
                  <a:pt x="28" y="608"/>
                  <a:pt x="28" y="608"/>
                  <a:pt x="28" y="608"/>
                </a:cubicBezTo>
                <a:cubicBezTo>
                  <a:pt x="7" y="608"/>
                  <a:pt x="0" y="594"/>
                  <a:pt x="0" y="580"/>
                </a:cubicBezTo>
                <a:cubicBezTo>
                  <a:pt x="0" y="106"/>
                  <a:pt x="0" y="106"/>
                  <a:pt x="0" y="106"/>
                </a:cubicBezTo>
                <a:cubicBezTo>
                  <a:pt x="0" y="92"/>
                  <a:pt x="7" y="78"/>
                  <a:pt x="28" y="78"/>
                </a:cubicBezTo>
                <a:cubicBezTo>
                  <a:pt x="84" y="78"/>
                  <a:pt x="84" y="78"/>
                  <a:pt x="84" y="78"/>
                </a:cubicBezTo>
                <a:cubicBezTo>
                  <a:pt x="84" y="106"/>
                  <a:pt x="84" y="106"/>
                  <a:pt x="84" y="106"/>
                </a:cubicBezTo>
                <a:cubicBezTo>
                  <a:pt x="84" y="141"/>
                  <a:pt x="113" y="170"/>
                  <a:pt x="148" y="170"/>
                </a:cubicBezTo>
                <a:cubicBezTo>
                  <a:pt x="183" y="170"/>
                  <a:pt x="211" y="141"/>
                  <a:pt x="211" y="106"/>
                </a:cubicBezTo>
                <a:cubicBezTo>
                  <a:pt x="211" y="78"/>
                  <a:pt x="211" y="78"/>
                  <a:pt x="211" y="78"/>
                </a:cubicBezTo>
                <a:cubicBezTo>
                  <a:pt x="381" y="78"/>
                  <a:pt x="381" y="78"/>
                  <a:pt x="381" y="78"/>
                </a:cubicBezTo>
                <a:cubicBezTo>
                  <a:pt x="381" y="106"/>
                  <a:pt x="381" y="106"/>
                  <a:pt x="381" y="106"/>
                </a:cubicBezTo>
                <a:cubicBezTo>
                  <a:pt x="381" y="141"/>
                  <a:pt x="417" y="170"/>
                  <a:pt x="452" y="170"/>
                </a:cubicBezTo>
                <a:cubicBezTo>
                  <a:pt x="487" y="170"/>
                  <a:pt x="515" y="141"/>
                  <a:pt x="515" y="106"/>
                </a:cubicBezTo>
                <a:cubicBezTo>
                  <a:pt x="515" y="78"/>
                  <a:pt x="515" y="78"/>
                  <a:pt x="515" y="78"/>
                </a:cubicBezTo>
                <a:cubicBezTo>
                  <a:pt x="572" y="78"/>
                  <a:pt x="572" y="78"/>
                  <a:pt x="572" y="78"/>
                </a:cubicBezTo>
                <a:cubicBezTo>
                  <a:pt x="586" y="78"/>
                  <a:pt x="600" y="92"/>
                  <a:pt x="600" y="106"/>
                </a:cubicBezTo>
                <a:cubicBezTo>
                  <a:pt x="600" y="580"/>
                  <a:pt x="600" y="580"/>
                  <a:pt x="600" y="580"/>
                </a:cubicBezTo>
                <a:cubicBezTo>
                  <a:pt x="600" y="594"/>
                  <a:pt x="586" y="608"/>
                  <a:pt x="572" y="608"/>
                </a:cubicBezTo>
                <a:close/>
                <a:moveTo>
                  <a:pt x="544" y="226"/>
                </a:moveTo>
                <a:lnTo>
                  <a:pt x="544" y="226"/>
                </a:lnTo>
                <a:cubicBezTo>
                  <a:pt x="56" y="226"/>
                  <a:pt x="56" y="226"/>
                  <a:pt x="56" y="226"/>
                </a:cubicBezTo>
                <a:cubicBezTo>
                  <a:pt x="56" y="551"/>
                  <a:pt x="56" y="551"/>
                  <a:pt x="56" y="551"/>
                </a:cubicBezTo>
                <a:cubicBezTo>
                  <a:pt x="544" y="551"/>
                  <a:pt x="544" y="551"/>
                  <a:pt x="544" y="551"/>
                </a:cubicBezTo>
                <a:lnTo>
                  <a:pt x="544" y="226"/>
                </a:lnTo>
                <a:close/>
                <a:moveTo>
                  <a:pt x="204" y="360"/>
                </a:moveTo>
                <a:lnTo>
                  <a:pt x="204" y="360"/>
                </a:lnTo>
                <a:cubicBezTo>
                  <a:pt x="211" y="360"/>
                  <a:pt x="219" y="360"/>
                  <a:pt x="226" y="367"/>
                </a:cubicBezTo>
                <a:cubicBezTo>
                  <a:pt x="268" y="417"/>
                  <a:pt x="268" y="417"/>
                  <a:pt x="268" y="417"/>
                </a:cubicBezTo>
                <a:cubicBezTo>
                  <a:pt x="381" y="304"/>
                  <a:pt x="381" y="304"/>
                  <a:pt x="381" y="304"/>
                </a:cubicBezTo>
                <a:cubicBezTo>
                  <a:pt x="388" y="297"/>
                  <a:pt x="395" y="297"/>
                  <a:pt x="402" y="297"/>
                </a:cubicBezTo>
                <a:cubicBezTo>
                  <a:pt x="417" y="297"/>
                  <a:pt x="431" y="304"/>
                  <a:pt x="431" y="325"/>
                </a:cubicBezTo>
                <a:cubicBezTo>
                  <a:pt x="431" y="332"/>
                  <a:pt x="431" y="339"/>
                  <a:pt x="424" y="339"/>
                </a:cubicBezTo>
                <a:cubicBezTo>
                  <a:pt x="289" y="474"/>
                  <a:pt x="289" y="474"/>
                  <a:pt x="289" y="474"/>
                </a:cubicBezTo>
                <a:cubicBezTo>
                  <a:pt x="282" y="481"/>
                  <a:pt x="275" y="481"/>
                  <a:pt x="268" y="481"/>
                </a:cubicBezTo>
                <a:cubicBezTo>
                  <a:pt x="261" y="481"/>
                  <a:pt x="254" y="481"/>
                  <a:pt x="254" y="474"/>
                </a:cubicBezTo>
                <a:cubicBezTo>
                  <a:pt x="183" y="410"/>
                  <a:pt x="183" y="410"/>
                  <a:pt x="183" y="410"/>
                </a:cubicBezTo>
                <a:cubicBezTo>
                  <a:pt x="176" y="403"/>
                  <a:pt x="176" y="396"/>
                  <a:pt x="176" y="389"/>
                </a:cubicBezTo>
                <a:cubicBezTo>
                  <a:pt x="176" y="375"/>
                  <a:pt x="190" y="360"/>
                  <a:pt x="204" y="360"/>
                </a:cubicBezTo>
                <a:close/>
                <a:moveTo>
                  <a:pt x="452" y="134"/>
                </a:moveTo>
                <a:lnTo>
                  <a:pt x="452" y="134"/>
                </a:lnTo>
                <a:cubicBezTo>
                  <a:pt x="431" y="134"/>
                  <a:pt x="424" y="120"/>
                  <a:pt x="424" y="106"/>
                </a:cubicBezTo>
                <a:cubicBezTo>
                  <a:pt x="424" y="28"/>
                  <a:pt x="424" y="28"/>
                  <a:pt x="424" y="28"/>
                </a:cubicBezTo>
                <a:cubicBezTo>
                  <a:pt x="424" y="14"/>
                  <a:pt x="431" y="0"/>
                  <a:pt x="452" y="0"/>
                </a:cubicBezTo>
                <a:cubicBezTo>
                  <a:pt x="466" y="0"/>
                  <a:pt x="480" y="14"/>
                  <a:pt x="480" y="28"/>
                </a:cubicBezTo>
                <a:cubicBezTo>
                  <a:pt x="480" y="106"/>
                  <a:pt x="480" y="106"/>
                  <a:pt x="480" y="106"/>
                </a:cubicBezTo>
                <a:cubicBezTo>
                  <a:pt x="480" y="120"/>
                  <a:pt x="466" y="134"/>
                  <a:pt x="452" y="134"/>
                </a:cubicBezTo>
                <a:close/>
                <a:moveTo>
                  <a:pt x="148" y="134"/>
                </a:moveTo>
                <a:lnTo>
                  <a:pt x="148" y="134"/>
                </a:lnTo>
                <a:cubicBezTo>
                  <a:pt x="134" y="134"/>
                  <a:pt x="120" y="120"/>
                  <a:pt x="120" y="106"/>
                </a:cubicBezTo>
                <a:cubicBezTo>
                  <a:pt x="120" y="28"/>
                  <a:pt x="120" y="28"/>
                  <a:pt x="120" y="28"/>
                </a:cubicBezTo>
                <a:cubicBezTo>
                  <a:pt x="120" y="14"/>
                  <a:pt x="134" y="0"/>
                  <a:pt x="148" y="0"/>
                </a:cubicBezTo>
                <a:cubicBezTo>
                  <a:pt x="162" y="0"/>
                  <a:pt x="176" y="14"/>
                  <a:pt x="176" y="28"/>
                </a:cubicBezTo>
                <a:cubicBezTo>
                  <a:pt x="176" y="106"/>
                  <a:pt x="176" y="106"/>
                  <a:pt x="176" y="106"/>
                </a:cubicBezTo>
                <a:cubicBezTo>
                  <a:pt x="176" y="120"/>
                  <a:pt x="162" y="134"/>
                  <a:pt x="148" y="134"/>
                </a:cubicBezTo>
                <a:close/>
              </a:path>
            </a:pathLst>
          </a:custGeom>
          <a:solidFill>
            <a:schemeClr val="bg1"/>
          </a:solidFill>
          <a:ln>
            <a:noFill/>
          </a:ln>
        </p:spPr>
        <p:txBody>
          <a:bodyPr wrap="none" anchor="ctr"/>
          <a:lstStyle/>
          <a:p>
            <a:pPr defTabSz="1218786">
              <a:defRPr/>
            </a:pPr>
            <a:endParaRPr lang="es-PE" sz="2400" b="1" kern="0">
              <a:solidFill>
                <a:srgbClr val="404040"/>
              </a:solidFill>
              <a:latin typeface="Tenorite Display"/>
            </a:endParaRPr>
          </a:p>
        </p:txBody>
      </p:sp>
      <p:sp>
        <p:nvSpPr>
          <p:cNvPr id="96" name="Flecha: pentágono 95">
            <a:extLst>
              <a:ext uri="{FF2B5EF4-FFF2-40B4-BE49-F238E27FC236}">
                <a16:creationId xmlns:a16="http://schemas.microsoft.com/office/drawing/2014/main" id="{5F2C39B5-CB89-ED75-A597-43692BD2A669}"/>
              </a:ext>
            </a:extLst>
          </p:cNvPr>
          <p:cNvSpPr/>
          <p:nvPr/>
        </p:nvSpPr>
        <p:spPr>
          <a:xfrm>
            <a:off x="1710604" y="1151676"/>
            <a:ext cx="750103" cy="501482"/>
          </a:xfrm>
          <a:prstGeom prst="homePlate">
            <a:avLst/>
          </a:prstGeom>
          <a:solidFill>
            <a:srgbClr val="008FD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2400" b="0" i="0" u="none" strike="noStrike" kern="0" cap="none" spc="0" normalizeH="0" baseline="0" noProof="0">
                <a:ln>
                  <a:noFill/>
                </a:ln>
                <a:solidFill>
                  <a:srgbClr val="FFFFFF"/>
                </a:solidFill>
                <a:effectLst/>
                <a:uLnTx/>
                <a:uFillTx/>
                <a:latin typeface="Tenorite Display"/>
                <a:ea typeface="Source sans pro" panose="020B0503030403020204" pitchFamily="34" charset="0"/>
              </a:rPr>
              <a:t>01</a:t>
            </a:r>
            <a:endParaRPr kumimoji="0" lang="es-PE" sz="1800" b="0" i="0" u="none" strike="noStrike" kern="0" cap="none" spc="0" normalizeH="0" baseline="0" noProof="0">
              <a:ln>
                <a:noFill/>
              </a:ln>
              <a:solidFill>
                <a:srgbClr val="FFFFFF"/>
              </a:solidFill>
              <a:effectLst/>
              <a:uLnTx/>
              <a:uFillTx/>
              <a:latin typeface="Tenorite Display"/>
              <a:ea typeface="Source sans pro" panose="020B0503030403020204" pitchFamily="34" charset="0"/>
            </a:endParaRPr>
          </a:p>
        </p:txBody>
      </p:sp>
      <p:sp>
        <p:nvSpPr>
          <p:cNvPr id="97" name="Flecha: cheurón 96">
            <a:extLst>
              <a:ext uri="{FF2B5EF4-FFF2-40B4-BE49-F238E27FC236}">
                <a16:creationId xmlns:a16="http://schemas.microsoft.com/office/drawing/2014/main" id="{6CBBDB34-2584-FED3-6F46-C096549E9470}"/>
              </a:ext>
            </a:extLst>
          </p:cNvPr>
          <p:cNvSpPr/>
          <p:nvPr/>
        </p:nvSpPr>
        <p:spPr>
          <a:xfrm>
            <a:off x="2297213" y="1151676"/>
            <a:ext cx="3345237" cy="501482"/>
          </a:xfrm>
          <a:prstGeom prst="chevron">
            <a:avLst/>
          </a:prstGeom>
          <a:solidFill>
            <a:srgbClr val="FFFFFF"/>
          </a:solidFill>
          <a:ln w="12700" cap="flat" cmpd="sng" algn="ctr">
            <a:solidFill>
              <a:srgbClr val="008FD2"/>
            </a:solidFill>
            <a:prstDash val="solid"/>
            <a:miter lim="800000"/>
          </a:ln>
          <a:effectLst/>
        </p:spPr>
        <p:txBody>
          <a:bodyPr lIns="91440" tIns="45720" rIns="91440" bIns="45720" rtlCol="0" anchor="ctr"/>
          <a:lstStyle/>
          <a:p>
            <a:r>
              <a:rPr lang="es-ES" sz="1200" dirty="0">
                <a:solidFill>
                  <a:schemeClr val="tx1">
                    <a:lumMod val="65000"/>
                    <a:lumOff val="35000"/>
                  </a:schemeClr>
                </a:solidFill>
                <a:latin typeface="Tenorite Display"/>
                <a:ea typeface="Source sans pro" panose="020B0503030403020204" pitchFamily="34" charset="0"/>
              </a:rPr>
              <a:t>Alerta de caída de solución</a:t>
            </a:r>
            <a:endParaRPr lang="es-PE" sz="1200" dirty="0">
              <a:solidFill>
                <a:schemeClr val="tx1">
                  <a:lumMod val="65000"/>
                  <a:lumOff val="35000"/>
                </a:schemeClr>
              </a:solidFill>
              <a:latin typeface="Tenorite Display"/>
              <a:ea typeface="Source sans pro" panose="020B0503030403020204" pitchFamily="34" charset="0"/>
            </a:endParaRPr>
          </a:p>
        </p:txBody>
      </p:sp>
      <p:sp>
        <p:nvSpPr>
          <p:cNvPr id="98" name="Flecha: cheurón 97">
            <a:extLst>
              <a:ext uri="{FF2B5EF4-FFF2-40B4-BE49-F238E27FC236}">
                <a16:creationId xmlns:a16="http://schemas.microsoft.com/office/drawing/2014/main" id="{E975BEF8-5E93-CBD9-524E-6617FD41ED04}"/>
              </a:ext>
            </a:extLst>
          </p:cNvPr>
          <p:cNvSpPr/>
          <p:nvPr/>
        </p:nvSpPr>
        <p:spPr>
          <a:xfrm>
            <a:off x="5548338" y="1151676"/>
            <a:ext cx="2000326" cy="501482"/>
          </a:xfrm>
          <a:prstGeom prst="chevron">
            <a:avLst/>
          </a:prstGeom>
          <a:solidFill>
            <a:srgbClr val="008FD2">
              <a:lumMod val="20000"/>
              <a:lumOff val="80000"/>
            </a:srgbClr>
          </a:solidFill>
          <a:ln w="12700" cap="flat" cmpd="sng" algn="ctr">
            <a:noFill/>
            <a:prstDash val="solid"/>
            <a:miter lim="800000"/>
          </a:ln>
          <a:effectLst/>
        </p:spPr>
        <p:txBody>
          <a:bodyPr rtlCol="0" anchor="ctr"/>
          <a:lstStyle/>
          <a:p>
            <a:pPr algn="ctr"/>
            <a:r>
              <a:rPr lang="es-ES" sz="1100" dirty="0">
                <a:solidFill>
                  <a:schemeClr val="tx1">
                    <a:lumMod val="65000"/>
                    <a:lumOff val="35000"/>
                  </a:schemeClr>
                </a:solidFill>
                <a:latin typeface="Tenorite Display"/>
                <a:ea typeface="Source sans pro" panose="020B0503030403020204" pitchFamily="34" charset="0"/>
                <a:cs typeface="Arial" pitchFamily="34" charset="0"/>
              </a:rPr>
              <a:t>N</a:t>
            </a:r>
            <a:r>
              <a:rPr lang="es-PE" sz="1100" dirty="0" err="1">
                <a:solidFill>
                  <a:schemeClr val="tx1">
                    <a:lumMod val="65000"/>
                    <a:lumOff val="35000"/>
                  </a:schemeClr>
                </a:solidFill>
                <a:latin typeface="Tenorite Display"/>
                <a:ea typeface="Source sans pro" panose="020B0503030403020204" pitchFamily="34" charset="0"/>
                <a:cs typeface="Arial" pitchFamily="34" charset="0"/>
              </a:rPr>
              <a:t>otificación</a:t>
            </a:r>
            <a:endParaRPr kumimoji="0" lang="es-PE" sz="1100" b="0" i="0" strike="noStrike" kern="1200" cap="none" spc="0" normalizeH="0" baseline="0" dirty="0">
              <a:ln>
                <a:noFill/>
              </a:ln>
              <a:solidFill>
                <a:schemeClr val="tx1">
                  <a:lumMod val="65000"/>
                  <a:lumOff val="35000"/>
                </a:schemeClr>
              </a:solidFill>
              <a:effectLst/>
              <a:uLnTx/>
              <a:uFillTx/>
              <a:latin typeface="Tenorite Display"/>
              <a:ea typeface="Source sans pro" panose="020B0503030403020204" pitchFamily="34" charset="0"/>
              <a:cs typeface="Arial" pitchFamily="34" charset="0"/>
            </a:endParaRPr>
          </a:p>
        </p:txBody>
      </p:sp>
      <p:sp>
        <p:nvSpPr>
          <p:cNvPr id="99" name="Flecha: cheurón 98">
            <a:extLst>
              <a:ext uri="{FF2B5EF4-FFF2-40B4-BE49-F238E27FC236}">
                <a16:creationId xmlns:a16="http://schemas.microsoft.com/office/drawing/2014/main" id="{65CE38E7-C780-1246-DF80-9A292C81E13B}"/>
              </a:ext>
            </a:extLst>
          </p:cNvPr>
          <p:cNvSpPr/>
          <p:nvPr/>
        </p:nvSpPr>
        <p:spPr>
          <a:xfrm>
            <a:off x="7474849" y="1151676"/>
            <a:ext cx="2317699" cy="501482"/>
          </a:xfrm>
          <a:prstGeom prst="chevron">
            <a:avLst/>
          </a:prstGeom>
          <a:solidFill>
            <a:srgbClr val="008FD2">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s-ES" sz="1200" kern="0" dirty="0">
                <a:solidFill>
                  <a:schemeClr val="tx1">
                    <a:lumMod val="65000"/>
                    <a:lumOff val="35000"/>
                  </a:schemeClr>
                </a:solidFill>
                <a:latin typeface="Tenorite Display"/>
                <a:ea typeface="Source sans pro" panose="020B0503030403020204" pitchFamily="34" charset="0"/>
              </a:rPr>
              <a:t>Equipo de Desarrollo</a:t>
            </a:r>
            <a:endParaRPr kumimoji="0" lang="es-PE" sz="1200" b="0" i="0" u="none" strike="noStrike" kern="0" cap="none" spc="0" normalizeH="0" baseline="0" noProof="0" dirty="0">
              <a:ln>
                <a:noFill/>
              </a:ln>
              <a:solidFill>
                <a:schemeClr val="tx1">
                  <a:lumMod val="65000"/>
                  <a:lumOff val="35000"/>
                </a:schemeClr>
              </a:solidFill>
              <a:effectLst/>
              <a:uLnTx/>
              <a:uFillTx/>
              <a:latin typeface="Tenorite Display"/>
              <a:ea typeface="Source sans pro" panose="020B0503030403020204" pitchFamily="34" charset="0"/>
            </a:endParaRPr>
          </a:p>
        </p:txBody>
      </p:sp>
      <p:sp>
        <p:nvSpPr>
          <p:cNvPr id="134" name="CuadroTexto 133">
            <a:extLst>
              <a:ext uri="{FF2B5EF4-FFF2-40B4-BE49-F238E27FC236}">
                <a16:creationId xmlns:a16="http://schemas.microsoft.com/office/drawing/2014/main" id="{47B5AE09-AD2D-E0DC-43B5-3E02D6CA0492}"/>
              </a:ext>
            </a:extLst>
          </p:cNvPr>
          <p:cNvSpPr txBox="1"/>
          <p:nvPr/>
        </p:nvSpPr>
        <p:spPr>
          <a:xfrm>
            <a:off x="1748881" y="767955"/>
            <a:ext cx="402906"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err="1">
                <a:ln>
                  <a:noFill/>
                </a:ln>
                <a:solidFill>
                  <a:schemeClr val="tx1">
                    <a:lumMod val="65000"/>
                    <a:lumOff val="35000"/>
                  </a:schemeClr>
                </a:solidFill>
                <a:effectLst/>
                <a:uLnTx/>
                <a:uFillTx/>
                <a:latin typeface="Tenorite Display"/>
                <a:ea typeface="Source sans pro" panose="020B0503030403020204" pitchFamily="34" charset="0"/>
              </a:rPr>
              <a:t>N°</a:t>
            </a:r>
            <a:endParaRPr kumimoji="0" lang="es-PE" sz="1600" b="1" i="0" u="none" strike="noStrike" kern="0" cap="none" spc="0" normalizeH="0" baseline="0" noProof="0">
              <a:ln>
                <a:noFill/>
              </a:ln>
              <a:solidFill>
                <a:schemeClr val="tx1">
                  <a:lumMod val="65000"/>
                  <a:lumOff val="35000"/>
                </a:schemeClr>
              </a:solidFill>
              <a:effectLst/>
              <a:uLnTx/>
              <a:uFillTx/>
              <a:latin typeface="Tenorite Display"/>
              <a:ea typeface="Source sans pro" panose="020B0503030403020204" pitchFamily="34" charset="0"/>
            </a:endParaRPr>
          </a:p>
        </p:txBody>
      </p:sp>
      <p:sp>
        <p:nvSpPr>
          <p:cNvPr id="135" name="CuadroTexto 134">
            <a:extLst>
              <a:ext uri="{FF2B5EF4-FFF2-40B4-BE49-F238E27FC236}">
                <a16:creationId xmlns:a16="http://schemas.microsoft.com/office/drawing/2014/main" id="{AEA35C30-3FF6-A501-415B-198CE76E78A4}"/>
              </a:ext>
            </a:extLst>
          </p:cNvPr>
          <p:cNvSpPr txBox="1"/>
          <p:nvPr/>
        </p:nvSpPr>
        <p:spPr>
          <a:xfrm>
            <a:off x="2264245" y="767352"/>
            <a:ext cx="3175098"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PE" sz="1600" b="1" i="0" u="none" strike="noStrike" kern="0" cap="none" spc="0" normalizeH="0" baseline="0" noProof="0">
                <a:ln>
                  <a:noFill/>
                </a:ln>
                <a:solidFill>
                  <a:schemeClr val="tx1">
                    <a:lumMod val="65000"/>
                    <a:lumOff val="35000"/>
                  </a:schemeClr>
                </a:solidFill>
                <a:effectLst/>
                <a:uLnTx/>
                <a:uFillTx/>
                <a:latin typeface="Tenorite Display"/>
                <a:ea typeface="Source sans pro" panose="020B0503030403020204" pitchFamily="34" charset="0"/>
              </a:rPr>
              <a:t>ACTIVIDADES</a:t>
            </a:r>
          </a:p>
        </p:txBody>
      </p:sp>
      <p:sp>
        <p:nvSpPr>
          <p:cNvPr id="136" name="CuadroTexto 135">
            <a:extLst>
              <a:ext uri="{FF2B5EF4-FFF2-40B4-BE49-F238E27FC236}">
                <a16:creationId xmlns:a16="http://schemas.microsoft.com/office/drawing/2014/main" id="{E7ED4548-6144-3CAF-288D-AEDD58DA6DB7}"/>
              </a:ext>
            </a:extLst>
          </p:cNvPr>
          <p:cNvSpPr txBox="1"/>
          <p:nvPr/>
        </p:nvSpPr>
        <p:spPr>
          <a:xfrm>
            <a:off x="5515370" y="767632"/>
            <a:ext cx="1757962"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s-ES" sz="1600" b="1" kern="0" dirty="0">
                <a:solidFill>
                  <a:schemeClr val="tx1">
                    <a:lumMod val="65000"/>
                    <a:lumOff val="35000"/>
                  </a:schemeClr>
                </a:solidFill>
                <a:latin typeface="Tenorite Display"/>
                <a:ea typeface="Source sans pro" panose="020B0503030403020204" pitchFamily="34" charset="0"/>
              </a:rPr>
              <a:t>ENTREGABLE</a:t>
            </a:r>
            <a:endParaRPr kumimoji="0" lang="es-PE" sz="1600" b="1" i="0" u="none" strike="noStrike" kern="0" cap="none" spc="0" normalizeH="0" baseline="0" noProof="0" dirty="0">
              <a:ln>
                <a:noFill/>
              </a:ln>
              <a:solidFill>
                <a:schemeClr val="tx1">
                  <a:lumMod val="65000"/>
                  <a:lumOff val="35000"/>
                </a:schemeClr>
              </a:solidFill>
              <a:effectLst/>
              <a:uLnTx/>
              <a:uFillTx/>
              <a:latin typeface="Tenorite Display"/>
              <a:ea typeface="Source sans pro" panose="020B0503030403020204" pitchFamily="34" charset="0"/>
            </a:endParaRPr>
          </a:p>
        </p:txBody>
      </p:sp>
      <p:sp>
        <p:nvSpPr>
          <p:cNvPr id="8" name="Flecha: pentágono 7">
            <a:extLst>
              <a:ext uri="{FF2B5EF4-FFF2-40B4-BE49-F238E27FC236}">
                <a16:creationId xmlns:a16="http://schemas.microsoft.com/office/drawing/2014/main" id="{F83215B3-973A-388B-59E8-6FEFFF081230}"/>
              </a:ext>
            </a:extLst>
          </p:cNvPr>
          <p:cNvSpPr/>
          <p:nvPr/>
        </p:nvSpPr>
        <p:spPr>
          <a:xfrm>
            <a:off x="1710604" y="1681762"/>
            <a:ext cx="750103" cy="501482"/>
          </a:xfrm>
          <a:prstGeom prst="homePlate">
            <a:avLst/>
          </a:prstGeom>
          <a:solidFill>
            <a:srgbClr val="98002E"/>
          </a:solidFill>
          <a:ln w="12700" cap="flat" cmpd="sng" algn="ctr">
            <a:no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s-ES" sz="2400" kern="0">
                <a:solidFill>
                  <a:srgbClr val="FFFFFF"/>
                </a:solidFill>
                <a:latin typeface="Tenorite Display"/>
                <a:ea typeface="Source sans pro"/>
              </a:rPr>
              <a:t>02</a:t>
            </a:r>
            <a:endParaRPr kumimoji="0" lang="es-PE" sz="1800" b="0" i="0" u="none" strike="noStrike" kern="0" cap="none" spc="0" normalizeH="0" baseline="0" noProof="0">
              <a:ln>
                <a:noFill/>
              </a:ln>
              <a:solidFill>
                <a:srgbClr val="FFFFFF"/>
              </a:solidFill>
              <a:effectLst/>
              <a:uLnTx/>
              <a:uFillTx/>
              <a:latin typeface="Tenorite Display"/>
              <a:ea typeface="Source sans pro" panose="020B0503030403020204" pitchFamily="34" charset="0"/>
            </a:endParaRPr>
          </a:p>
        </p:txBody>
      </p:sp>
      <p:sp>
        <p:nvSpPr>
          <p:cNvPr id="12" name="Flecha: cheurón 11">
            <a:extLst>
              <a:ext uri="{FF2B5EF4-FFF2-40B4-BE49-F238E27FC236}">
                <a16:creationId xmlns:a16="http://schemas.microsoft.com/office/drawing/2014/main" id="{65EB9A0F-050A-55B4-3E77-1DD7114BE015}"/>
              </a:ext>
            </a:extLst>
          </p:cNvPr>
          <p:cNvSpPr/>
          <p:nvPr/>
        </p:nvSpPr>
        <p:spPr>
          <a:xfrm>
            <a:off x="2297213" y="1681762"/>
            <a:ext cx="3345237" cy="501482"/>
          </a:xfrm>
          <a:prstGeom prst="chevron">
            <a:avLst/>
          </a:prstGeom>
          <a:solidFill>
            <a:srgbClr val="FFFFFF"/>
          </a:solidFill>
          <a:ln w="12700" cap="flat" cmpd="sng" algn="ctr">
            <a:solidFill>
              <a:srgbClr val="97002E"/>
            </a:solidFill>
            <a:prstDash val="solid"/>
            <a:miter lim="800000"/>
          </a:ln>
          <a:effectLst/>
        </p:spPr>
        <p:txBody>
          <a:bodyPr lIns="91440" tIns="45720" rIns="91440" bIns="45720" rtlCol="0" anchor="ctr"/>
          <a:lstStyle/>
          <a:p>
            <a:r>
              <a:rPr lang="es-MX" sz="1200" dirty="0">
                <a:solidFill>
                  <a:schemeClr val="tx1">
                    <a:lumMod val="65000"/>
                    <a:lumOff val="35000"/>
                  </a:schemeClr>
                </a:solidFill>
                <a:latin typeface="Tenorite Display"/>
                <a:ea typeface="Source Sans Pro"/>
              </a:rPr>
              <a:t>Seguridad de información de producto</a:t>
            </a:r>
            <a:endParaRPr lang="es-ES" sz="1200" dirty="0">
              <a:solidFill>
                <a:schemeClr val="tx1">
                  <a:lumMod val="65000"/>
                  <a:lumOff val="35000"/>
                </a:schemeClr>
              </a:solidFill>
              <a:latin typeface="Tenorite Display"/>
              <a:ea typeface="Source Sans Pro"/>
            </a:endParaRPr>
          </a:p>
        </p:txBody>
      </p:sp>
      <p:sp>
        <p:nvSpPr>
          <p:cNvPr id="13" name="Flecha: cheurón 12">
            <a:extLst>
              <a:ext uri="{FF2B5EF4-FFF2-40B4-BE49-F238E27FC236}">
                <a16:creationId xmlns:a16="http://schemas.microsoft.com/office/drawing/2014/main" id="{69D8862E-78F4-EEE4-1623-350A1363FF86}"/>
              </a:ext>
            </a:extLst>
          </p:cNvPr>
          <p:cNvSpPr/>
          <p:nvPr/>
        </p:nvSpPr>
        <p:spPr>
          <a:xfrm>
            <a:off x="5548338" y="1681762"/>
            <a:ext cx="2000326" cy="501482"/>
          </a:xfrm>
          <a:prstGeom prst="chevron">
            <a:avLst/>
          </a:prstGeom>
          <a:solidFill>
            <a:srgbClr val="FFB7CD"/>
          </a:solidFill>
          <a:ln w="12700" cap="flat" cmpd="sng" algn="ctr">
            <a:noFill/>
            <a:prstDash val="solid"/>
            <a:miter lim="800000"/>
          </a:ln>
          <a:effectLst/>
        </p:spPr>
        <p:txBody>
          <a:bodyPr rtlCol="0" anchor="ctr"/>
          <a:lstStyle/>
          <a:p>
            <a:pPr algn="ctr"/>
            <a:r>
              <a:rPr kumimoji="0" lang="es-PE" sz="1100" b="0" i="0" strike="noStrike" kern="1200" cap="none" spc="0" normalizeH="0" baseline="0" dirty="0">
                <a:ln>
                  <a:noFill/>
                </a:ln>
                <a:solidFill>
                  <a:schemeClr val="tx1">
                    <a:lumMod val="65000"/>
                    <a:lumOff val="35000"/>
                  </a:schemeClr>
                </a:solidFill>
                <a:effectLst/>
                <a:uLnTx/>
                <a:uFillTx/>
                <a:latin typeface="Tenorite Display"/>
                <a:ea typeface="Source sans pro" panose="020B0503030403020204" pitchFamily="34" charset="0"/>
                <a:cs typeface="Arial" pitchFamily="34" charset="0"/>
              </a:rPr>
              <a:t>Resultado de </a:t>
            </a:r>
            <a:r>
              <a:rPr kumimoji="0" lang="es-PE" sz="1100" b="0" i="0" strike="noStrike" kern="1200" cap="none" spc="0" normalizeH="0" baseline="0" dirty="0" err="1">
                <a:ln>
                  <a:noFill/>
                </a:ln>
                <a:solidFill>
                  <a:schemeClr val="tx1">
                    <a:lumMod val="65000"/>
                    <a:lumOff val="35000"/>
                  </a:schemeClr>
                </a:solidFill>
                <a:effectLst/>
                <a:uLnTx/>
                <a:uFillTx/>
                <a:latin typeface="Tenorite Display"/>
                <a:ea typeface="Source sans pro" panose="020B0503030403020204" pitchFamily="34" charset="0"/>
                <a:cs typeface="Arial" pitchFamily="34" charset="0"/>
              </a:rPr>
              <a:t>Ethical</a:t>
            </a:r>
            <a:r>
              <a:rPr kumimoji="0" lang="es-PE" sz="1100" b="0" i="0" strike="noStrike" kern="1200" cap="none" spc="0" normalizeH="0" baseline="0" dirty="0">
                <a:ln>
                  <a:noFill/>
                </a:ln>
                <a:solidFill>
                  <a:schemeClr val="tx1">
                    <a:lumMod val="65000"/>
                    <a:lumOff val="35000"/>
                  </a:schemeClr>
                </a:solidFill>
                <a:effectLst/>
                <a:uLnTx/>
                <a:uFillTx/>
                <a:latin typeface="Tenorite Display"/>
                <a:ea typeface="Source sans pro" panose="020B0503030403020204" pitchFamily="34" charset="0"/>
                <a:cs typeface="Arial" pitchFamily="34" charset="0"/>
              </a:rPr>
              <a:t> Hacking</a:t>
            </a:r>
          </a:p>
        </p:txBody>
      </p:sp>
      <p:sp>
        <p:nvSpPr>
          <p:cNvPr id="14" name="Flecha: cheurón 13">
            <a:extLst>
              <a:ext uri="{FF2B5EF4-FFF2-40B4-BE49-F238E27FC236}">
                <a16:creationId xmlns:a16="http://schemas.microsoft.com/office/drawing/2014/main" id="{7189D6F9-D90A-B51D-1BFF-37158987CBD1}"/>
              </a:ext>
            </a:extLst>
          </p:cNvPr>
          <p:cNvSpPr/>
          <p:nvPr/>
        </p:nvSpPr>
        <p:spPr>
          <a:xfrm>
            <a:off x="7474849" y="1681762"/>
            <a:ext cx="2317699" cy="501482"/>
          </a:xfrm>
          <a:prstGeom prst="chevron">
            <a:avLst/>
          </a:prstGeom>
          <a:solidFill>
            <a:srgbClr val="FFB7CD"/>
          </a:solidFill>
          <a:ln w="12700" cap="flat" cmpd="sng" algn="ctr">
            <a:noFill/>
            <a:prstDash val="solid"/>
            <a:miter lim="800000"/>
          </a:ln>
          <a:effectLst/>
        </p:spPr>
        <p:txBody>
          <a:bodyPr rtlCol="0" anchor="ctr"/>
          <a:lstStyle/>
          <a:p>
            <a:pPr lvl="0" algn="ctr">
              <a:defRPr/>
            </a:pPr>
            <a:r>
              <a:rPr lang="es-ES" sz="1200" kern="0" dirty="0">
                <a:solidFill>
                  <a:schemeClr val="tx1">
                    <a:lumMod val="65000"/>
                    <a:lumOff val="35000"/>
                  </a:schemeClr>
                </a:solidFill>
                <a:latin typeface="Tenorite Display"/>
                <a:ea typeface="Source sans pro" panose="020B0503030403020204" pitchFamily="34" charset="0"/>
              </a:rPr>
              <a:t>Equipo de Desarrollo</a:t>
            </a:r>
            <a:endParaRPr lang="es-PE" sz="1200" kern="0" dirty="0">
              <a:solidFill>
                <a:schemeClr val="tx1">
                  <a:lumMod val="65000"/>
                  <a:lumOff val="35000"/>
                </a:schemeClr>
              </a:solidFill>
              <a:latin typeface="Tenorite Display"/>
              <a:ea typeface="Source sans pro" panose="020B0503030403020204" pitchFamily="34" charset="0"/>
            </a:endParaRPr>
          </a:p>
        </p:txBody>
      </p:sp>
      <p:sp>
        <p:nvSpPr>
          <p:cNvPr id="15" name="Flecha: pentágono 14">
            <a:extLst>
              <a:ext uri="{FF2B5EF4-FFF2-40B4-BE49-F238E27FC236}">
                <a16:creationId xmlns:a16="http://schemas.microsoft.com/office/drawing/2014/main" id="{162D15AE-FCC0-BDE4-BB93-F62A732B6E45}"/>
              </a:ext>
            </a:extLst>
          </p:cNvPr>
          <p:cNvSpPr/>
          <p:nvPr/>
        </p:nvSpPr>
        <p:spPr>
          <a:xfrm>
            <a:off x="1723973" y="2740345"/>
            <a:ext cx="750103" cy="501482"/>
          </a:xfrm>
          <a:prstGeom prst="homePlate">
            <a:avLst/>
          </a:prstGeom>
          <a:solidFill>
            <a:srgbClr val="009966"/>
          </a:solidFill>
          <a:ln w="12700" cap="flat" cmpd="sng" algn="ctr">
            <a:no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s-ES" sz="2400" kern="0">
                <a:solidFill>
                  <a:srgbClr val="FFFFFF"/>
                </a:solidFill>
                <a:latin typeface="Tenorite Display"/>
                <a:ea typeface="Source sans pro"/>
              </a:rPr>
              <a:t>04</a:t>
            </a:r>
            <a:endParaRPr kumimoji="0" lang="es-PE" sz="1800" b="0" i="0" u="none" strike="noStrike" kern="0" cap="none" spc="0" normalizeH="0" baseline="0" noProof="0">
              <a:ln>
                <a:noFill/>
              </a:ln>
              <a:solidFill>
                <a:srgbClr val="FFFFFF"/>
              </a:solidFill>
              <a:effectLst/>
              <a:uLnTx/>
              <a:uFillTx/>
              <a:latin typeface="Tenorite Display"/>
              <a:ea typeface="Source sans pro" panose="020B0503030403020204" pitchFamily="34" charset="0"/>
            </a:endParaRPr>
          </a:p>
        </p:txBody>
      </p:sp>
      <p:sp>
        <p:nvSpPr>
          <p:cNvPr id="16" name="Flecha: cheurón 15">
            <a:extLst>
              <a:ext uri="{FF2B5EF4-FFF2-40B4-BE49-F238E27FC236}">
                <a16:creationId xmlns:a16="http://schemas.microsoft.com/office/drawing/2014/main" id="{07B7AF95-41CC-C517-A923-F1DA0BBA6964}"/>
              </a:ext>
            </a:extLst>
          </p:cNvPr>
          <p:cNvSpPr/>
          <p:nvPr/>
        </p:nvSpPr>
        <p:spPr>
          <a:xfrm>
            <a:off x="2310582" y="2740345"/>
            <a:ext cx="3345237" cy="501482"/>
          </a:xfrm>
          <a:prstGeom prst="chevron">
            <a:avLst/>
          </a:prstGeom>
          <a:solidFill>
            <a:srgbClr val="FFFFFF"/>
          </a:solidFill>
          <a:ln w="12700" cap="flat" cmpd="sng" algn="ctr">
            <a:solidFill>
              <a:srgbClr val="009966"/>
            </a:solidFill>
            <a:prstDash val="solid"/>
            <a:miter lim="800000"/>
          </a:ln>
          <a:effectLst/>
        </p:spPr>
        <p:txBody>
          <a:bodyPr lIns="91440" tIns="45720" rIns="91440" bIns="45720" rtlCol="0" anchor="ctr"/>
          <a:lstStyle/>
          <a:p>
            <a:r>
              <a:rPr lang="es-ES" sz="1200" dirty="0">
                <a:solidFill>
                  <a:schemeClr val="tx1">
                    <a:lumMod val="65000"/>
                    <a:lumOff val="35000"/>
                  </a:schemeClr>
                </a:solidFill>
                <a:latin typeface="Tenorite Display"/>
                <a:ea typeface="Source Sans Pro"/>
              </a:rPr>
              <a:t>Infraestructura (</a:t>
            </a:r>
            <a:r>
              <a:rPr lang="es-ES" sz="1200" dirty="0" err="1">
                <a:solidFill>
                  <a:schemeClr val="tx1">
                    <a:lumMod val="65000"/>
                    <a:lumOff val="35000"/>
                  </a:schemeClr>
                </a:solidFill>
                <a:latin typeface="Tenorite Display"/>
                <a:ea typeface="Source Sans Pro"/>
              </a:rPr>
              <a:t>TAGs</a:t>
            </a:r>
            <a:r>
              <a:rPr lang="es-ES" sz="1200" dirty="0">
                <a:solidFill>
                  <a:schemeClr val="tx1">
                    <a:lumMod val="65000"/>
                    <a:lumOff val="35000"/>
                  </a:schemeClr>
                </a:solidFill>
                <a:latin typeface="Tenorite Display"/>
                <a:ea typeface="Source Sans Pro"/>
              </a:rPr>
              <a:t>)</a:t>
            </a:r>
            <a:endParaRPr lang="es-MX" sz="1200" dirty="0">
              <a:solidFill>
                <a:schemeClr val="tx1">
                  <a:lumMod val="65000"/>
                  <a:lumOff val="35000"/>
                </a:schemeClr>
              </a:solidFill>
              <a:latin typeface="Tenorite Display"/>
              <a:ea typeface="Source Sans Pro"/>
            </a:endParaRPr>
          </a:p>
        </p:txBody>
      </p:sp>
      <p:sp>
        <p:nvSpPr>
          <p:cNvPr id="17" name="Flecha: cheurón 16">
            <a:extLst>
              <a:ext uri="{FF2B5EF4-FFF2-40B4-BE49-F238E27FC236}">
                <a16:creationId xmlns:a16="http://schemas.microsoft.com/office/drawing/2014/main" id="{B1B07765-DE50-E7C3-C597-12323BFA1BAA}"/>
              </a:ext>
            </a:extLst>
          </p:cNvPr>
          <p:cNvSpPr/>
          <p:nvPr/>
        </p:nvSpPr>
        <p:spPr>
          <a:xfrm>
            <a:off x="5561707" y="2740345"/>
            <a:ext cx="2000326" cy="501482"/>
          </a:xfrm>
          <a:prstGeom prst="chevron">
            <a:avLst/>
          </a:prstGeom>
          <a:solidFill>
            <a:srgbClr val="B4E5A2"/>
          </a:solidFill>
          <a:ln w="12700" cap="flat" cmpd="sng" algn="ctr">
            <a:noFill/>
            <a:prstDash val="solid"/>
            <a:miter lim="800000"/>
          </a:ln>
          <a:effectLst/>
        </p:spPr>
        <p:txBody>
          <a:bodyPr lIns="91440" tIns="45720" rIns="91440" bIns="45720" rtlCol="0" anchor="ctr"/>
          <a:lstStyle/>
          <a:p>
            <a:pPr algn="ctr"/>
            <a:r>
              <a:rPr lang="es-ES" sz="1100" dirty="0">
                <a:solidFill>
                  <a:schemeClr val="tx1">
                    <a:lumMod val="65000"/>
                    <a:lumOff val="35000"/>
                  </a:schemeClr>
                </a:solidFill>
                <a:latin typeface="Tenorite Display"/>
                <a:ea typeface="Source Sans Pro"/>
                <a:cs typeface="Arial"/>
              </a:rPr>
              <a:t>Visibilidad en </a:t>
            </a:r>
            <a:r>
              <a:rPr lang="es-ES" sz="1100" dirty="0" err="1">
                <a:solidFill>
                  <a:schemeClr val="tx1">
                    <a:lumMod val="65000"/>
                    <a:lumOff val="35000"/>
                  </a:schemeClr>
                </a:solidFill>
                <a:latin typeface="Tenorite Display"/>
                <a:ea typeface="Source Sans Pro"/>
                <a:cs typeface="Arial"/>
              </a:rPr>
              <a:t>Dashboard</a:t>
            </a:r>
            <a:r>
              <a:rPr lang="es-ES" sz="1100" dirty="0">
                <a:solidFill>
                  <a:schemeClr val="tx1">
                    <a:lumMod val="65000"/>
                    <a:lumOff val="35000"/>
                  </a:schemeClr>
                </a:solidFill>
                <a:latin typeface="Tenorite Display"/>
                <a:ea typeface="Source Sans Pro"/>
                <a:cs typeface="Arial"/>
              </a:rPr>
              <a:t> Control de costos analíticos</a:t>
            </a:r>
            <a:endParaRPr lang="es-PE" sz="1100" dirty="0">
              <a:solidFill>
                <a:schemeClr val="tx1">
                  <a:lumMod val="65000"/>
                  <a:lumOff val="35000"/>
                </a:schemeClr>
              </a:solidFill>
              <a:latin typeface="Tenorite Display"/>
              <a:ea typeface="Source Sans Pro"/>
              <a:cs typeface="Arial"/>
            </a:endParaRPr>
          </a:p>
        </p:txBody>
      </p:sp>
      <p:sp>
        <p:nvSpPr>
          <p:cNvPr id="18" name="Flecha: cheurón 17">
            <a:extLst>
              <a:ext uri="{FF2B5EF4-FFF2-40B4-BE49-F238E27FC236}">
                <a16:creationId xmlns:a16="http://schemas.microsoft.com/office/drawing/2014/main" id="{9A2B1B2E-CAC0-44C4-CF2F-727B7DC93D43}"/>
              </a:ext>
            </a:extLst>
          </p:cNvPr>
          <p:cNvSpPr/>
          <p:nvPr/>
        </p:nvSpPr>
        <p:spPr>
          <a:xfrm>
            <a:off x="7488218" y="2740345"/>
            <a:ext cx="2317698" cy="501482"/>
          </a:xfrm>
          <a:prstGeom prst="chevron">
            <a:avLst/>
          </a:prstGeom>
          <a:solidFill>
            <a:srgbClr val="B4E5A2"/>
          </a:solidFill>
          <a:ln w="12700" cap="flat" cmpd="sng" algn="ctr">
            <a:noFill/>
            <a:prstDash val="solid"/>
            <a:miter lim="800000"/>
          </a:ln>
          <a:effectLst/>
        </p:spPr>
        <p:txBody>
          <a:bodyPr lIns="91440" tIns="45720" rIns="91440" bIns="45720" rtlCol="0" anchor="ctr"/>
          <a:lstStyle/>
          <a:p>
            <a:pPr algn="ctr">
              <a:defRPr/>
            </a:pPr>
            <a:r>
              <a:rPr lang="es-ES" sz="1200" kern="0" dirty="0">
                <a:solidFill>
                  <a:schemeClr val="tx1">
                    <a:lumMod val="65000"/>
                    <a:lumOff val="35000"/>
                  </a:schemeClr>
                </a:solidFill>
                <a:latin typeface="Tenorite Display"/>
                <a:ea typeface="Source sans pro"/>
              </a:rPr>
              <a:t>Infraestructura</a:t>
            </a:r>
            <a:endParaRPr lang="es-PE" sz="1200" kern="0" dirty="0">
              <a:solidFill>
                <a:schemeClr val="tx1">
                  <a:lumMod val="65000"/>
                  <a:lumOff val="35000"/>
                </a:schemeClr>
              </a:solidFill>
              <a:latin typeface="Tenorite Display"/>
              <a:ea typeface="Source sans pro"/>
            </a:endParaRPr>
          </a:p>
        </p:txBody>
      </p:sp>
      <p:sp>
        <p:nvSpPr>
          <p:cNvPr id="19" name="Flecha: pentágono 18">
            <a:extLst>
              <a:ext uri="{FF2B5EF4-FFF2-40B4-BE49-F238E27FC236}">
                <a16:creationId xmlns:a16="http://schemas.microsoft.com/office/drawing/2014/main" id="{2571241F-C0F6-1EE7-549B-689C925D389E}"/>
              </a:ext>
            </a:extLst>
          </p:cNvPr>
          <p:cNvSpPr/>
          <p:nvPr/>
        </p:nvSpPr>
        <p:spPr>
          <a:xfrm>
            <a:off x="1723973" y="2211848"/>
            <a:ext cx="750103" cy="501482"/>
          </a:xfrm>
          <a:prstGeom prst="homePlate">
            <a:avLst/>
          </a:prstGeom>
          <a:solidFill>
            <a:srgbClr val="DF8639"/>
          </a:solidFill>
          <a:ln w="12700" cap="flat" cmpd="sng" algn="ctr">
            <a:no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s-ES" sz="2400" kern="0">
                <a:solidFill>
                  <a:srgbClr val="FFFFFF"/>
                </a:solidFill>
                <a:latin typeface="Tenorite Display"/>
                <a:ea typeface="Source sans pro"/>
              </a:rPr>
              <a:t>03</a:t>
            </a:r>
            <a:endParaRPr kumimoji="0" lang="es-PE" sz="1800" b="0" i="0" u="none" strike="noStrike" kern="0" cap="none" spc="0" normalizeH="0" baseline="0" noProof="0">
              <a:ln>
                <a:noFill/>
              </a:ln>
              <a:solidFill>
                <a:srgbClr val="FFFFFF"/>
              </a:solidFill>
              <a:effectLst/>
              <a:uLnTx/>
              <a:uFillTx/>
              <a:latin typeface="Tenorite Display"/>
              <a:ea typeface="Source sans pro" panose="020B0503030403020204" pitchFamily="34" charset="0"/>
            </a:endParaRPr>
          </a:p>
        </p:txBody>
      </p:sp>
      <p:sp>
        <p:nvSpPr>
          <p:cNvPr id="20" name="Flecha: cheurón 19">
            <a:extLst>
              <a:ext uri="{FF2B5EF4-FFF2-40B4-BE49-F238E27FC236}">
                <a16:creationId xmlns:a16="http://schemas.microsoft.com/office/drawing/2014/main" id="{65442169-CA1E-B04C-7B9D-5069B58EEA32}"/>
              </a:ext>
            </a:extLst>
          </p:cNvPr>
          <p:cNvSpPr/>
          <p:nvPr/>
        </p:nvSpPr>
        <p:spPr>
          <a:xfrm>
            <a:off x="2310582" y="2211848"/>
            <a:ext cx="3345237" cy="501482"/>
          </a:xfrm>
          <a:prstGeom prst="chevron">
            <a:avLst/>
          </a:prstGeom>
          <a:solidFill>
            <a:srgbClr val="FFFFFF"/>
          </a:solidFill>
          <a:ln w="12700" cap="flat" cmpd="sng" algn="ctr">
            <a:solidFill>
              <a:srgbClr val="DF8639"/>
            </a:solidFill>
            <a:prstDash val="solid"/>
            <a:miter lim="800000"/>
          </a:ln>
          <a:effectLst/>
        </p:spPr>
        <p:txBody>
          <a:bodyPr lIns="91440" tIns="45720" rIns="91440" bIns="45720" rtlCol="0" anchor="ctr"/>
          <a:lstStyle/>
          <a:p>
            <a:r>
              <a:rPr lang="es-ES" sz="1200" dirty="0">
                <a:solidFill>
                  <a:schemeClr val="tx1">
                    <a:lumMod val="65000"/>
                    <a:lumOff val="35000"/>
                  </a:schemeClr>
                </a:solidFill>
                <a:latin typeface="Tenorite Display"/>
                <a:ea typeface="Source sans pro"/>
              </a:rPr>
              <a:t>Infraestructura (Recursos Azure)</a:t>
            </a:r>
            <a:endParaRPr lang="es-ES" dirty="0">
              <a:solidFill>
                <a:schemeClr val="tx1">
                  <a:lumMod val="65000"/>
                  <a:lumOff val="35000"/>
                </a:schemeClr>
              </a:solidFill>
              <a:latin typeface="Tenorite Display"/>
            </a:endParaRPr>
          </a:p>
        </p:txBody>
      </p:sp>
      <p:sp>
        <p:nvSpPr>
          <p:cNvPr id="21" name="Flecha: cheurón 20">
            <a:extLst>
              <a:ext uri="{FF2B5EF4-FFF2-40B4-BE49-F238E27FC236}">
                <a16:creationId xmlns:a16="http://schemas.microsoft.com/office/drawing/2014/main" id="{69719ADC-A683-9232-8007-5F7E9F92D1F4}"/>
              </a:ext>
            </a:extLst>
          </p:cNvPr>
          <p:cNvSpPr/>
          <p:nvPr/>
        </p:nvSpPr>
        <p:spPr>
          <a:xfrm>
            <a:off x="5561707" y="2211848"/>
            <a:ext cx="2000326" cy="501482"/>
          </a:xfrm>
          <a:prstGeom prst="chevron">
            <a:avLst/>
          </a:prstGeom>
          <a:solidFill>
            <a:srgbClr val="FFE5C4"/>
          </a:solidFill>
          <a:ln w="12700" cap="flat" cmpd="sng" algn="ctr">
            <a:noFill/>
            <a:prstDash val="solid"/>
            <a:miter lim="800000"/>
          </a:ln>
          <a:effectLst/>
        </p:spPr>
        <p:txBody>
          <a:bodyPr rtlCol="0" anchor="ctr"/>
          <a:lstStyle/>
          <a:p>
            <a:pPr algn="ctr"/>
            <a:r>
              <a:rPr kumimoji="0" lang="es-PE" sz="1100" b="0" i="0" strike="noStrike" kern="1200" cap="none" spc="0" normalizeH="0" baseline="0" dirty="0">
                <a:ln>
                  <a:noFill/>
                </a:ln>
                <a:solidFill>
                  <a:schemeClr val="tx1">
                    <a:lumMod val="65000"/>
                    <a:lumOff val="35000"/>
                  </a:schemeClr>
                </a:solidFill>
                <a:effectLst/>
                <a:uLnTx/>
                <a:uFillTx/>
                <a:latin typeface="Tenorite Display"/>
                <a:ea typeface="Source sans pro" panose="020B0503030403020204" pitchFamily="34" charset="0"/>
                <a:cs typeface="Arial" pitchFamily="34" charset="0"/>
              </a:rPr>
              <a:t>Aprovisionamiento de recursos</a:t>
            </a:r>
          </a:p>
        </p:txBody>
      </p:sp>
      <p:sp>
        <p:nvSpPr>
          <p:cNvPr id="22" name="Flecha: cheurón 21">
            <a:extLst>
              <a:ext uri="{FF2B5EF4-FFF2-40B4-BE49-F238E27FC236}">
                <a16:creationId xmlns:a16="http://schemas.microsoft.com/office/drawing/2014/main" id="{E6506386-1B1F-8065-82A2-5F8F312F78AE}"/>
              </a:ext>
            </a:extLst>
          </p:cNvPr>
          <p:cNvSpPr/>
          <p:nvPr/>
        </p:nvSpPr>
        <p:spPr>
          <a:xfrm>
            <a:off x="7488218" y="2211848"/>
            <a:ext cx="2317699" cy="501482"/>
          </a:xfrm>
          <a:prstGeom prst="chevron">
            <a:avLst/>
          </a:prstGeom>
          <a:solidFill>
            <a:srgbClr val="FFE5C4"/>
          </a:solidFill>
          <a:ln w="12700" cap="flat" cmpd="sng" algn="ctr">
            <a:noFill/>
            <a:prstDash val="solid"/>
            <a:miter lim="800000"/>
          </a:ln>
          <a:effectLst/>
        </p:spPr>
        <p:txBody>
          <a:bodyPr lIns="91440" tIns="45720" rIns="91440" bIns="45720" rtlCol="0" anchor="ctr"/>
          <a:lstStyle/>
          <a:p>
            <a:pPr algn="ctr">
              <a:defRPr/>
            </a:pPr>
            <a:r>
              <a:rPr lang="es-ES" sz="1200" kern="0" dirty="0">
                <a:solidFill>
                  <a:schemeClr val="tx1">
                    <a:lumMod val="65000"/>
                    <a:lumOff val="35000"/>
                  </a:schemeClr>
                </a:solidFill>
                <a:latin typeface="Tenorite Display"/>
                <a:ea typeface="Source sans pro"/>
              </a:rPr>
              <a:t>Infraestructura</a:t>
            </a:r>
            <a:endParaRPr lang="es-PE" sz="1200" b="0" i="0" u="none" strike="noStrike" kern="0" cap="none" spc="0" normalizeH="0" baseline="0" noProof="0" dirty="0">
              <a:ln>
                <a:noFill/>
              </a:ln>
              <a:solidFill>
                <a:schemeClr val="tx1">
                  <a:lumMod val="65000"/>
                  <a:lumOff val="35000"/>
                </a:schemeClr>
              </a:solidFill>
              <a:effectLst/>
              <a:uLnTx/>
              <a:uFillTx/>
              <a:latin typeface="Tenorite Display"/>
              <a:ea typeface="Source sans pro" panose="020B0503030403020204" pitchFamily="34" charset="0"/>
            </a:endParaRPr>
          </a:p>
        </p:txBody>
      </p:sp>
      <p:sp>
        <p:nvSpPr>
          <p:cNvPr id="11" name="CuadroTexto 10">
            <a:extLst>
              <a:ext uri="{FF2B5EF4-FFF2-40B4-BE49-F238E27FC236}">
                <a16:creationId xmlns:a16="http://schemas.microsoft.com/office/drawing/2014/main" id="{370A1F87-401B-EADA-4604-85A3596360AA}"/>
              </a:ext>
            </a:extLst>
          </p:cNvPr>
          <p:cNvSpPr txBox="1"/>
          <p:nvPr/>
        </p:nvSpPr>
        <p:spPr>
          <a:xfrm>
            <a:off x="7458116" y="759100"/>
            <a:ext cx="1757962"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s-ES" sz="1600" b="1" kern="0" dirty="0">
                <a:solidFill>
                  <a:schemeClr val="tx1">
                    <a:lumMod val="65000"/>
                    <a:lumOff val="35000"/>
                  </a:schemeClr>
                </a:solidFill>
                <a:latin typeface="Tenorite Display"/>
                <a:ea typeface="Source sans pro" panose="020B0503030403020204" pitchFamily="34" charset="0"/>
              </a:rPr>
              <a:t>RESPONSABLE</a:t>
            </a:r>
            <a:endParaRPr kumimoji="0" lang="es-PE" sz="1600" b="1" i="0" u="none" strike="noStrike" kern="0" cap="none" spc="0" normalizeH="0" baseline="0" noProof="0" dirty="0">
              <a:ln>
                <a:noFill/>
              </a:ln>
              <a:solidFill>
                <a:schemeClr val="tx1">
                  <a:lumMod val="65000"/>
                  <a:lumOff val="35000"/>
                </a:schemeClr>
              </a:solidFill>
              <a:effectLst/>
              <a:uLnTx/>
              <a:uFillTx/>
              <a:latin typeface="Tenorite Display"/>
              <a:ea typeface="Source sans pro" panose="020B0503030403020204" pitchFamily="34" charset="0"/>
            </a:endParaRPr>
          </a:p>
        </p:txBody>
      </p:sp>
      <p:sp>
        <p:nvSpPr>
          <p:cNvPr id="39" name="Subtitle 2">
            <a:extLst>
              <a:ext uri="{FF2B5EF4-FFF2-40B4-BE49-F238E27FC236}">
                <a16:creationId xmlns:a16="http://schemas.microsoft.com/office/drawing/2014/main" id="{79A86584-9431-40F5-5F3C-FE6408338C8A}"/>
              </a:ext>
            </a:extLst>
          </p:cNvPr>
          <p:cNvSpPr txBox="1">
            <a:spLocks/>
          </p:cNvSpPr>
          <p:nvPr/>
        </p:nvSpPr>
        <p:spPr>
          <a:xfrm>
            <a:off x="1403897" y="3983240"/>
            <a:ext cx="1707465" cy="535658"/>
          </a:xfrm>
          <a:prstGeom prst="rect">
            <a:avLst/>
          </a:prstGeom>
        </p:spPr>
        <p:txBody>
          <a:bodyPr vert="horz" wrap="square" lIns="108773" tIns="54387" rIns="108773" bIns="54387"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ctr"/>
            <a:r>
              <a:rPr lang="es-MX" sz="1200">
                <a:solidFill>
                  <a:schemeClr val="bg1"/>
                </a:solidFill>
                <a:latin typeface="Tenorite Display"/>
                <a:ea typeface="Source sans pro"/>
              </a:rPr>
              <a:t>Planificación y Preparación</a:t>
            </a:r>
          </a:p>
        </p:txBody>
      </p:sp>
      <p:sp>
        <p:nvSpPr>
          <p:cNvPr id="40" name="Flecha: pentágono 39">
            <a:extLst>
              <a:ext uri="{FF2B5EF4-FFF2-40B4-BE49-F238E27FC236}">
                <a16:creationId xmlns:a16="http://schemas.microsoft.com/office/drawing/2014/main" id="{78AC66DD-E18A-2EF5-F2D8-4BFC2E0BD7DF}"/>
              </a:ext>
            </a:extLst>
          </p:cNvPr>
          <p:cNvSpPr/>
          <p:nvPr/>
        </p:nvSpPr>
        <p:spPr>
          <a:xfrm>
            <a:off x="1723973" y="3268842"/>
            <a:ext cx="750103" cy="501482"/>
          </a:xfrm>
          <a:prstGeom prst="homePlate">
            <a:avLst/>
          </a:prstGeom>
          <a:solidFill>
            <a:srgbClr val="008FD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2400" b="0" i="0" u="none" strike="noStrike" kern="0" cap="none" spc="0" normalizeH="0" baseline="0" noProof="0" dirty="0">
                <a:ln>
                  <a:noFill/>
                </a:ln>
                <a:solidFill>
                  <a:srgbClr val="FFFFFF"/>
                </a:solidFill>
                <a:effectLst/>
                <a:uLnTx/>
                <a:uFillTx/>
                <a:latin typeface="Tenorite Display"/>
                <a:ea typeface="Source sans pro" panose="020B0503030403020204" pitchFamily="34" charset="0"/>
              </a:rPr>
              <a:t>05</a:t>
            </a:r>
            <a:endParaRPr kumimoji="0" lang="es-PE" sz="1800" b="0" i="0" u="none" strike="noStrike" kern="0" cap="none" spc="0" normalizeH="0" baseline="0" noProof="0" dirty="0">
              <a:ln>
                <a:noFill/>
              </a:ln>
              <a:solidFill>
                <a:srgbClr val="FFFFFF"/>
              </a:solidFill>
              <a:effectLst/>
              <a:uLnTx/>
              <a:uFillTx/>
              <a:latin typeface="Tenorite Display"/>
              <a:ea typeface="Source sans pro" panose="020B0503030403020204" pitchFamily="34" charset="0"/>
            </a:endParaRPr>
          </a:p>
        </p:txBody>
      </p:sp>
      <p:sp>
        <p:nvSpPr>
          <p:cNvPr id="41" name="Flecha: cheurón 40">
            <a:extLst>
              <a:ext uri="{FF2B5EF4-FFF2-40B4-BE49-F238E27FC236}">
                <a16:creationId xmlns:a16="http://schemas.microsoft.com/office/drawing/2014/main" id="{D5631E07-8627-1694-D4A8-5AE0A8514C7D}"/>
              </a:ext>
            </a:extLst>
          </p:cNvPr>
          <p:cNvSpPr/>
          <p:nvPr/>
        </p:nvSpPr>
        <p:spPr>
          <a:xfrm>
            <a:off x="2310582" y="3268842"/>
            <a:ext cx="3345237" cy="501482"/>
          </a:xfrm>
          <a:prstGeom prst="chevron">
            <a:avLst/>
          </a:prstGeom>
          <a:solidFill>
            <a:srgbClr val="FFFFFF"/>
          </a:solidFill>
          <a:ln w="12700" cap="flat" cmpd="sng" algn="ctr">
            <a:solidFill>
              <a:srgbClr val="008FD2"/>
            </a:solidFill>
            <a:prstDash val="solid"/>
            <a:miter lim="800000"/>
          </a:ln>
          <a:effectLst/>
        </p:spPr>
        <p:txBody>
          <a:bodyPr lIns="91440" tIns="45720" rIns="91440" bIns="45720" rtlCol="0" anchor="ctr"/>
          <a:lstStyle/>
          <a:p>
            <a:r>
              <a:rPr lang="es-ES" sz="1200" dirty="0">
                <a:solidFill>
                  <a:schemeClr val="tx1">
                    <a:lumMod val="65000"/>
                    <a:lumOff val="35000"/>
                  </a:schemeClr>
                </a:solidFill>
                <a:latin typeface="Tenorite Display"/>
                <a:ea typeface="Source sans pro" panose="020B0503030403020204" pitchFamily="34" charset="0"/>
              </a:rPr>
              <a:t>Auditoria de uso</a:t>
            </a:r>
            <a:endParaRPr lang="es-PE" sz="1200" dirty="0">
              <a:solidFill>
                <a:schemeClr val="tx1">
                  <a:lumMod val="65000"/>
                  <a:lumOff val="35000"/>
                </a:schemeClr>
              </a:solidFill>
              <a:latin typeface="Tenorite Display"/>
              <a:ea typeface="Source sans pro" panose="020B0503030403020204" pitchFamily="34" charset="0"/>
            </a:endParaRPr>
          </a:p>
        </p:txBody>
      </p:sp>
      <p:sp>
        <p:nvSpPr>
          <p:cNvPr id="42" name="Flecha: cheurón 41">
            <a:extLst>
              <a:ext uri="{FF2B5EF4-FFF2-40B4-BE49-F238E27FC236}">
                <a16:creationId xmlns:a16="http://schemas.microsoft.com/office/drawing/2014/main" id="{608D754D-55B7-86F5-BE54-58223B5C7A9C}"/>
              </a:ext>
            </a:extLst>
          </p:cNvPr>
          <p:cNvSpPr/>
          <p:nvPr/>
        </p:nvSpPr>
        <p:spPr>
          <a:xfrm>
            <a:off x="5561707" y="3268842"/>
            <a:ext cx="2000326" cy="501482"/>
          </a:xfrm>
          <a:prstGeom prst="chevron">
            <a:avLst/>
          </a:prstGeom>
          <a:solidFill>
            <a:srgbClr val="008FD2">
              <a:lumMod val="20000"/>
              <a:lumOff val="80000"/>
            </a:srgbClr>
          </a:solidFill>
          <a:ln w="12700" cap="flat" cmpd="sng" algn="ctr">
            <a:noFill/>
            <a:prstDash val="solid"/>
            <a:miter lim="800000"/>
          </a:ln>
          <a:effectLst/>
        </p:spPr>
        <p:txBody>
          <a:bodyPr rtlCol="0" anchor="ctr"/>
          <a:lstStyle/>
          <a:p>
            <a:pPr algn="ctr"/>
            <a:r>
              <a:rPr lang="es-ES" sz="1100" dirty="0">
                <a:solidFill>
                  <a:schemeClr val="tx1">
                    <a:lumMod val="65000"/>
                    <a:lumOff val="35000"/>
                  </a:schemeClr>
                </a:solidFill>
                <a:latin typeface="Tenorite Display"/>
                <a:ea typeface="Source sans pro" panose="020B0503030403020204" pitchFamily="34" charset="0"/>
                <a:cs typeface="Arial" pitchFamily="34" charset="0"/>
              </a:rPr>
              <a:t>Visibilidad en </a:t>
            </a:r>
            <a:r>
              <a:rPr lang="es-ES" sz="1100" dirty="0" err="1">
                <a:solidFill>
                  <a:schemeClr val="tx1">
                    <a:lumMod val="65000"/>
                    <a:lumOff val="35000"/>
                  </a:schemeClr>
                </a:solidFill>
                <a:latin typeface="Tenorite Display"/>
                <a:ea typeface="Source sans pro" panose="020B0503030403020204" pitchFamily="34" charset="0"/>
                <a:cs typeface="Arial" pitchFamily="34" charset="0"/>
              </a:rPr>
              <a:t>Dashboard</a:t>
            </a:r>
            <a:r>
              <a:rPr lang="es-ES" sz="1100" dirty="0">
                <a:solidFill>
                  <a:schemeClr val="tx1">
                    <a:lumMod val="65000"/>
                    <a:lumOff val="35000"/>
                  </a:schemeClr>
                </a:solidFill>
                <a:latin typeface="Tenorite Display"/>
                <a:ea typeface="Source sans pro" panose="020B0503030403020204" pitchFamily="34" charset="0"/>
                <a:cs typeface="Arial" pitchFamily="34" charset="0"/>
              </a:rPr>
              <a:t> Control de Usabilidad</a:t>
            </a:r>
            <a:endParaRPr kumimoji="0" lang="es-PE" sz="1100" b="0" i="0" strike="noStrike" kern="1200" cap="none" spc="0" normalizeH="0" baseline="0" dirty="0">
              <a:ln>
                <a:noFill/>
              </a:ln>
              <a:solidFill>
                <a:schemeClr val="tx1">
                  <a:lumMod val="65000"/>
                  <a:lumOff val="35000"/>
                </a:schemeClr>
              </a:solidFill>
              <a:effectLst/>
              <a:uLnTx/>
              <a:uFillTx/>
              <a:latin typeface="Tenorite Display"/>
              <a:ea typeface="Source sans pro" panose="020B0503030403020204" pitchFamily="34" charset="0"/>
              <a:cs typeface="Arial" pitchFamily="34" charset="0"/>
            </a:endParaRPr>
          </a:p>
        </p:txBody>
      </p:sp>
      <p:sp>
        <p:nvSpPr>
          <p:cNvPr id="43" name="Flecha: cheurón 42">
            <a:extLst>
              <a:ext uri="{FF2B5EF4-FFF2-40B4-BE49-F238E27FC236}">
                <a16:creationId xmlns:a16="http://schemas.microsoft.com/office/drawing/2014/main" id="{1B9D8D39-2831-7805-47CA-C7D2DB39956A}"/>
              </a:ext>
            </a:extLst>
          </p:cNvPr>
          <p:cNvSpPr/>
          <p:nvPr/>
        </p:nvSpPr>
        <p:spPr>
          <a:xfrm>
            <a:off x="7488218" y="3268842"/>
            <a:ext cx="2317699" cy="501482"/>
          </a:xfrm>
          <a:prstGeom prst="chevron">
            <a:avLst/>
          </a:prstGeom>
          <a:solidFill>
            <a:srgbClr val="008FD2">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s-ES" sz="1200" kern="0" dirty="0">
                <a:solidFill>
                  <a:schemeClr val="tx1">
                    <a:lumMod val="65000"/>
                    <a:lumOff val="35000"/>
                  </a:schemeClr>
                </a:solidFill>
                <a:latin typeface="Tenorite Display"/>
                <a:ea typeface="Source sans pro" panose="020B0503030403020204" pitchFamily="34" charset="0"/>
              </a:rPr>
              <a:t>Arquitecto del Dato</a:t>
            </a:r>
            <a:endParaRPr kumimoji="0" lang="es-PE" sz="1200" b="0" i="0" u="none" strike="noStrike" kern="0" cap="none" spc="0" normalizeH="0" baseline="0" noProof="0" dirty="0">
              <a:ln>
                <a:noFill/>
              </a:ln>
              <a:solidFill>
                <a:schemeClr val="tx1">
                  <a:lumMod val="65000"/>
                  <a:lumOff val="35000"/>
                </a:schemeClr>
              </a:solidFill>
              <a:effectLst/>
              <a:uLnTx/>
              <a:uFillTx/>
              <a:latin typeface="Tenorite Display"/>
              <a:ea typeface="Source sans pro" panose="020B0503030403020204" pitchFamily="34" charset="0"/>
            </a:endParaRPr>
          </a:p>
        </p:txBody>
      </p:sp>
      <p:sp>
        <p:nvSpPr>
          <p:cNvPr id="44" name="Flecha: pentágono 43">
            <a:extLst>
              <a:ext uri="{FF2B5EF4-FFF2-40B4-BE49-F238E27FC236}">
                <a16:creationId xmlns:a16="http://schemas.microsoft.com/office/drawing/2014/main" id="{44845E8E-AD21-C56B-B904-6F039B671292}"/>
              </a:ext>
            </a:extLst>
          </p:cNvPr>
          <p:cNvSpPr/>
          <p:nvPr/>
        </p:nvSpPr>
        <p:spPr>
          <a:xfrm>
            <a:off x="1723973" y="3770324"/>
            <a:ext cx="750103" cy="501482"/>
          </a:xfrm>
          <a:prstGeom prst="homePlate">
            <a:avLst/>
          </a:prstGeom>
          <a:solidFill>
            <a:srgbClr val="98002E"/>
          </a:solidFill>
          <a:ln w="12700" cap="flat" cmpd="sng" algn="ctr">
            <a:no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s-ES" sz="2400" kern="0" dirty="0">
                <a:solidFill>
                  <a:srgbClr val="FFFFFF"/>
                </a:solidFill>
                <a:latin typeface="Tenorite Display"/>
                <a:ea typeface="Source sans pro"/>
              </a:rPr>
              <a:t>06</a:t>
            </a:r>
            <a:endParaRPr kumimoji="0" lang="es-PE" sz="1800" b="0" i="0" u="none" strike="noStrike" kern="0" cap="none" spc="0" normalizeH="0" baseline="0" noProof="0" dirty="0">
              <a:ln>
                <a:noFill/>
              </a:ln>
              <a:solidFill>
                <a:srgbClr val="FFFFFF"/>
              </a:solidFill>
              <a:effectLst/>
              <a:uLnTx/>
              <a:uFillTx/>
              <a:latin typeface="Tenorite Display"/>
              <a:ea typeface="Source sans pro" panose="020B0503030403020204" pitchFamily="34" charset="0"/>
            </a:endParaRPr>
          </a:p>
        </p:txBody>
      </p:sp>
      <p:sp>
        <p:nvSpPr>
          <p:cNvPr id="55" name="Flecha: cheurón 54">
            <a:extLst>
              <a:ext uri="{FF2B5EF4-FFF2-40B4-BE49-F238E27FC236}">
                <a16:creationId xmlns:a16="http://schemas.microsoft.com/office/drawing/2014/main" id="{F0741740-4D30-6153-8D7A-A1820F448797}"/>
              </a:ext>
            </a:extLst>
          </p:cNvPr>
          <p:cNvSpPr/>
          <p:nvPr/>
        </p:nvSpPr>
        <p:spPr>
          <a:xfrm>
            <a:off x="2310582" y="3770324"/>
            <a:ext cx="3345237" cy="501482"/>
          </a:xfrm>
          <a:prstGeom prst="chevron">
            <a:avLst/>
          </a:prstGeom>
          <a:solidFill>
            <a:srgbClr val="FFFFFF"/>
          </a:solidFill>
          <a:ln w="12700" cap="flat" cmpd="sng" algn="ctr">
            <a:solidFill>
              <a:srgbClr val="97002E"/>
            </a:solidFill>
            <a:prstDash val="solid"/>
            <a:miter lim="800000"/>
          </a:ln>
          <a:effectLst/>
        </p:spPr>
        <p:txBody>
          <a:bodyPr lIns="91440" tIns="45720" rIns="91440" bIns="45720" rtlCol="0" anchor="ctr"/>
          <a:lstStyle/>
          <a:p>
            <a:r>
              <a:rPr lang="es-MX" sz="1200" dirty="0">
                <a:solidFill>
                  <a:schemeClr val="tx1">
                    <a:lumMod val="65000"/>
                    <a:lumOff val="35000"/>
                  </a:schemeClr>
                </a:solidFill>
                <a:latin typeface="Tenorite Display"/>
                <a:ea typeface="Source Sans Pro"/>
              </a:rPr>
              <a:t>Despliegue (CI CD)</a:t>
            </a:r>
            <a:endParaRPr lang="es-ES" sz="1200" dirty="0">
              <a:solidFill>
                <a:schemeClr val="tx1">
                  <a:lumMod val="65000"/>
                  <a:lumOff val="35000"/>
                </a:schemeClr>
              </a:solidFill>
              <a:latin typeface="Tenorite Display"/>
              <a:ea typeface="Source Sans Pro"/>
            </a:endParaRPr>
          </a:p>
        </p:txBody>
      </p:sp>
      <p:sp>
        <p:nvSpPr>
          <p:cNvPr id="56" name="Flecha: cheurón 55">
            <a:extLst>
              <a:ext uri="{FF2B5EF4-FFF2-40B4-BE49-F238E27FC236}">
                <a16:creationId xmlns:a16="http://schemas.microsoft.com/office/drawing/2014/main" id="{ADD605E0-8BF9-9C2A-3C3E-9AC3E65FC9C3}"/>
              </a:ext>
            </a:extLst>
          </p:cNvPr>
          <p:cNvSpPr/>
          <p:nvPr/>
        </p:nvSpPr>
        <p:spPr>
          <a:xfrm>
            <a:off x="5561707" y="3770324"/>
            <a:ext cx="2000326" cy="501482"/>
          </a:xfrm>
          <a:prstGeom prst="chevron">
            <a:avLst/>
          </a:prstGeom>
          <a:solidFill>
            <a:srgbClr val="FFB7CD"/>
          </a:solidFill>
          <a:ln w="12700" cap="flat" cmpd="sng" algn="ctr">
            <a:noFill/>
            <a:prstDash val="solid"/>
            <a:miter lim="800000"/>
          </a:ln>
          <a:effectLst/>
        </p:spPr>
        <p:txBody>
          <a:bodyPr rtlCol="0" anchor="ctr"/>
          <a:lstStyle/>
          <a:p>
            <a:pPr algn="ctr"/>
            <a:r>
              <a:rPr kumimoji="0" lang="es-PE" sz="1100" b="0" i="0" strike="noStrike" kern="1200" cap="none" spc="0" normalizeH="0" baseline="0" dirty="0" err="1">
                <a:ln>
                  <a:noFill/>
                </a:ln>
                <a:solidFill>
                  <a:schemeClr val="tx1">
                    <a:lumMod val="65000"/>
                    <a:lumOff val="35000"/>
                  </a:schemeClr>
                </a:solidFill>
                <a:effectLst/>
                <a:uLnTx/>
                <a:uFillTx/>
                <a:latin typeface="Tenorite Display"/>
                <a:ea typeface="Source sans pro" panose="020B0503030403020204" pitchFamily="34" charset="0"/>
                <a:cs typeface="Arial" pitchFamily="34" charset="0"/>
              </a:rPr>
              <a:t>PRs</a:t>
            </a:r>
            <a:endParaRPr kumimoji="0" lang="es-PE" sz="1100" b="0" i="0" strike="noStrike" kern="1200" cap="none" spc="0" normalizeH="0" baseline="0" dirty="0">
              <a:ln>
                <a:noFill/>
              </a:ln>
              <a:solidFill>
                <a:schemeClr val="tx1">
                  <a:lumMod val="65000"/>
                  <a:lumOff val="35000"/>
                </a:schemeClr>
              </a:solidFill>
              <a:effectLst/>
              <a:uLnTx/>
              <a:uFillTx/>
              <a:latin typeface="Tenorite Display"/>
              <a:ea typeface="Source sans pro" panose="020B0503030403020204" pitchFamily="34" charset="0"/>
              <a:cs typeface="Arial" pitchFamily="34" charset="0"/>
            </a:endParaRPr>
          </a:p>
        </p:txBody>
      </p:sp>
      <p:sp>
        <p:nvSpPr>
          <p:cNvPr id="57" name="Flecha: cheurón 56">
            <a:extLst>
              <a:ext uri="{FF2B5EF4-FFF2-40B4-BE49-F238E27FC236}">
                <a16:creationId xmlns:a16="http://schemas.microsoft.com/office/drawing/2014/main" id="{F99C8317-637B-77E4-0A61-3BA4B4DB4365}"/>
              </a:ext>
            </a:extLst>
          </p:cNvPr>
          <p:cNvSpPr/>
          <p:nvPr/>
        </p:nvSpPr>
        <p:spPr>
          <a:xfrm>
            <a:off x="7488218" y="3770324"/>
            <a:ext cx="2317699" cy="501482"/>
          </a:xfrm>
          <a:prstGeom prst="chevron">
            <a:avLst/>
          </a:prstGeom>
          <a:solidFill>
            <a:srgbClr val="FFB7CD"/>
          </a:solidFill>
          <a:ln w="12700" cap="flat" cmpd="sng" algn="ctr">
            <a:noFill/>
            <a:prstDash val="solid"/>
            <a:miter lim="800000"/>
          </a:ln>
          <a:effectLst/>
        </p:spPr>
        <p:txBody>
          <a:bodyPr rtlCol="0" anchor="ctr"/>
          <a:lstStyle/>
          <a:p>
            <a:pPr lvl="0" algn="ctr">
              <a:defRPr/>
            </a:pPr>
            <a:r>
              <a:rPr lang="es-ES" sz="1200" kern="0" dirty="0">
                <a:solidFill>
                  <a:schemeClr val="tx1">
                    <a:lumMod val="65000"/>
                    <a:lumOff val="35000"/>
                  </a:schemeClr>
                </a:solidFill>
                <a:latin typeface="Tenorite Display"/>
                <a:ea typeface="Source sans pro" panose="020B0503030403020204" pitchFamily="34" charset="0"/>
              </a:rPr>
              <a:t>Equipo de Desarrollo</a:t>
            </a:r>
            <a:endParaRPr lang="es-PE" sz="1200" kern="0" dirty="0">
              <a:solidFill>
                <a:schemeClr val="tx1">
                  <a:lumMod val="65000"/>
                  <a:lumOff val="35000"/>
                </a:schemeClr>
              </a:solidFill>
              <a:latin typeface="Tenorite Display"/>
              <a:ea typeface="Source sans pro" panose="020B0503030403020204" pitchFamily="34" charset="0"/>
            </a:endParaRPr>
          </a:p>
        </p:txBody>
      </p:sp>
      <p:sp>
        <p:nvSpPr>
          <p:cNvPr id="58" name="Flecha: pentágono 57">
            <a:extLst>
              <a:ext uri="{FF2B5EF4-FFF2-40B4-BE49-F238E27FC236}">
                <a16:creationId xmlns:a16="http://schemas.microsoft.com/office/drawing/2014/main" id="{191E3234-C732-67D6-493B-1C8F244796F8}"/>
              </a:ext>
            </a:extLst>
          </p:cNvPr>
          <p:cNvSpPr/>
          <p:nvPr/>
        </p:nvSpPr>
        <p:spPr>
          <a:xfrm>
            <a:off x="1747857" y="4811596"/>
            <a:ext cx="750103" cy="501482"/>
          </a:xfrm>
          <a:prstGeom prst="homePlate">
            <a:avLst/>
          </a:prstGeom>
          <a:solidFill>
            <a:srgbClr val="009966"/>
          </a:solidFill>
          <a:ln w="12700" cap="flat" cmpd="sng" algn="ctr">
            <a:no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s-ES" sz="2400" kern="0" dirty="0">
                <a:solidFill>
                  <a:srgbClr val="FFFFFF"/>
                </a:solidFill>
                <a:latin typeface="Tenorite Display"/>
                <a:ea typeface="Source sans pro"/>
              </a:rPr>
              <a:t>08</a:t>
            </a:r>
            <a:endParaRPr kumimoji="0" lang="es-PE" sz="1800" b="0" i="0" u="none" strike="noStrike" kern="0" cap="none" spc="0" normalizeH="0" baseline="0" noProof="0" dirty="0">
              <a:ln>
                <a:noFill/>
              </a:ln>
              <a:solidFill>
                <a:srgbClr val="FFFFFF"/>
              </a:solidFill>
              <a:effectLst/>
              <a:uLnTx/>
              <a:uFillTx/>
              <a:latin typeface="Tenorite Display"/>
              <a:ea typeface="Source sans pro" panose="020B0503030403020204" pitchFamily="34" charset="0"/>
            </a:endParaRPr>
          </a:p>
        </p:txBody>
      </p:sp>
      <p:sp>
        <p:nvSpPr>
          <p:cNvPr id="59" name="Flecha: cheurón 58">
            <a:extLst>
              <a:ext uri="{FF2B5EF4-FFF2-40B4-BE49-F238E27FC236}">
                <a16:creationId xmlns:a16="http://schemas.microsoft.com/office/drawing/2014/main" id="{841A9106-B5BB-673C-B16C-446590E3CBA5}"/>
              </a:ext>
            </a:extLst>
          </p:cNvPr>
          <p:cNvSpPr/>
          <p:nvPr/>
        </p:nvSpPr>
        <p:spPr>
          <a:xfrm>
            <a:off x="2334466" y="4811596"/>
            <a:ext cx="3345237" cy="501482"/>
          </a:xfrm>
          <a:prstGeom prst="chevron">
            <a:avLst/>
          </a:prstGeom>
          <a:solidFill>
            <a:srgbClr val="FFFFFF"/>
          </a:solidFill>
          <a:ln w="12700" cap="flat" cmpd="sng" algn="ctr">
            <a:solidFill>
              <a:srgbClr val="009966"/>
            </a:solidFill>
            <a:prstDash val="solid"/>
            <a:miter lim="800000"/>
          </a:ln>
          <a:effectLst/>
        </p:spPr>
        <p:txBody>
          <a:bodyPr lIns="91440" tIns="45720" rIns="91440" bIns="45720" rtlCol="0" anchor="ctr"/>
          <a:lstStyle/>
          <a:p>
            <a:r>
              <a:rPr lang="es-ES" sz="1200" dirty="0">
                <a:solidFill>
                  <a:schemeClr val="tx1">
                    <a:lumMod val="65000"/>
                    <a:lumOff val="35000"/>
                  </a:schemeClr>
                </a:solidFill>
                <a:latin typeface="Tenorite Display"/>
                <a:ea typeface="Source Sans Pro"/>
              </a:rPr>
              <a:t>PMO</a:t>
            </a:r>
            <a:endParaRPr lang="es-MX" sz="1200" dirty="0">
              <a:solidFill>
                <a:schemeClr val="tx1">
                  <a:lumMod val="65000"/>
                  <a:lumOff val="35000"/>
                </a:schemeClr>
              </a:solidFill>
              <a:latin typeface="Tenorite Display"/>
              <a:ea typeface="Source Sans Pro"/>
            </a:endParaRPr>
          </a:p>
        </p:txBody>
      </p:sp>
      <p:sp>
        <p:nvSpPr>
          <p:cNvPr id="60" name="Flecha: cheurón 59">
            <a:extLst>
              <a:ext uri="{FF2B5EF4-FFF2-40B4-BE49-F238E27FC236}">
                <a16:creationId xmlns:a16="http://schemas.microsoft.com/office/drawing/2014/main" id="{B02375B7-3AFC-5A56-E420-0A018CC9FB22}"/>
              </a:ext>
            </a:extLst>
          </p:cNvPr>
          <p:cNvSpPr/>
          <p:nvPr/>
        </p:nvSpPr>
        <p:spPr>
          <a:xfrm>
            <a:off x="5585591" y="4811596"/>
            <a:ext cx="2000326" cy="501482"/>
          </a:xfrm>
          <a:prstGeom prst="chevron">
            <a:avLst/>
          </a:prstGeom>
          <a:solidFill>
            <a:srgbClr val="B4E5A2"/>
          </a:solidFill>
          <a:ln w="12700" cap="flat" cmpd="sng" algn="ctr">
            <a:noFill/>
            <a:prstDash val="solid"/>
            <a:miter lim="800000"/>
          </a:ln>
          <a:effectLst/>
        </p:spPr>
        <p:txBody>
          <a:bodyPr lIns="91440" tIns="45720" rIns="91440" bIns="45720" rtlCol="0" anchor="ctr"/>
          <a:lstStyle/>
          <a:p>
            <a:pPr algn="ctr"/>
            <a:r>
              <a:rPr lang="es-ES" sz="1100" dirty="0">
                <a:solidFill>
                  <a:schemeClr val="tx1">
                    <a:lumMod val="65000"/>
                    <a:lumOff val="35000"/>
                  </a:schemeClr>
                </a:solidFill>
                <a:latin typeface="Tenorite Display"/>
                <a:ea typeface="Source Sans Pro"/>
                <a:cs typeface="Arial"/>
              </a:rPr>
              <a:t>Inspección </a:t>
            </a:r>
            <a:r>
              <a:rPr lang="es-ES" sz="1100" dirty="0" err="1">
                <a:solidFill>
                  <a:schemeClr val="tx1">
                    <a:lumMod val="65000"/>
                    <a:lumOff val="35000"/>
                  </a:schemeClr>
                </a:solidFill>
                <a:latin typeface="Tenorite Display"/>
                <a:ea typeface="Source Sans Pro"/>
                <a:cs typeface="Arial"/>
              </a:rPr>
              <a:t>Sharepoint</a:t>
            </a:r>
            <a:r>
              <a:rPr lang="es-ES" sz="1100" dirty="0">
                <a:solidFill>
                  <a:schemeClr val="tx1">
                    <a:lumMod val="65000"/>
                    <a:lumOff val="35000"/>
                  </a:schemeClr>
                </a:solidFill>
                <a:latin typeface="Tenorite Display"/>
                <a:ea typeface="Source Sans Pro"/>
                <a:cs typeface="Arial"/>
              </a:rPr>
              <a:t> Proyecto</a:t>
            </a:r>
            <a:endParaRPr lang="es-PE" sz="1100" dirty="0">
              <a:solidFill>
                <a:schemeClr val="tx1">
                  <a:lumMod val="65000"/>
                  <a:lumOff val="35000"/>
                </a:schemeClr>
              </a:solidFill>
              <a:latin typeface="Tenorite Display"/>
              <a:ea typeface="Source Sans Pro"/>
              <a:cs typeface="Arial"/>
            </a:endParaRPr>
          </a:p>
        </p:txBody>
      </p:sp>
      <p:sp>
        <p:nvSpPr>
          <p:cNvPr id="61" name="Flecha: cheurón 60">
            <a:extLst>
              <a:ext uri="{FF2B5EF4-FFF2-40B4-BE49-F238E27FC236}">
                <a16:creationId xmlns:a16="http://schemas.microsoft.com/office/drawing/2014/main" id="{0F09FFB0-FFEA-AB91-E10A-CCD51AD18DAF}"/>
              </a:ext>
            </a:extLst>
          </p:cNvPr>
          <p:cNvSpPr/>
          <p:nvPr/>
        </p:nvSpPr>
        <p:spPr>
          <a:xfrm>
            <a:off x="7512102" y="4811596"/>
            <a:ext cx="2317698" cy="501482"/>
          </a:xfrm>
          <a:prstGeom prst="chevron">
            <a:avLst/>
          </a:prstGeom>
          <a:solidFill>
            <a:srgbClr val="B4E5A2"/>
          </a:solidFill>
          <a:ln w="12700" cap="flat" cmpd="sng" algn="ctr">
            <a:noFill/>
            <a:prstDash val="solid"/>
            <a:miter lim="800000"/>
          </a:ln>
          <a:effectLst/>
        </p:spPr>
        <p:txBody>
          <a:bodyPr lIns="91440" tIns="45720" rIns="91440" bIns="45720" rtlCol="0" anchor="ctr"/>
          <a:lstStyle/>
          <a:p>
            <a:pPr algn="ctr">
              <a:defRPr/>
            </a:pPr>
            <a:r>
              <a:rPr lang="es-ES" sz="1200" kern="0" dirty="0">
                <a:solidFill>
                  <a:schemeClr val="tx1">
                    <a:lumMod val="65000"/>
                    <a:lumOff val="35000"/>
                  </a:schemeClr>
                </a:solidFill>
                <a:latin typeface="Tenorite Display"/>
                <a:ea typeface="Source sans pro"/>
              </a:rPr>
              <a:t>Gestor de Proyecto</a:t>
            </a:r>
            <a:endParaRPr lang="es-PE" sz="1200" kern="0" dirty="0">
              <a:solidFill>
                <a:schemeClr val="tx1">
                  <a:lumMod val="65000"/>
                  <a:lumOff val="35000"/>
                </a:schemeClr>
              </a:solidFill>
              <a:latin typeface="Tenorite Display"/>
              <a:ea typeface="Source sans pro"/>
            </a:endParaRPr>
          </a:p>
        </p:txBody>
      </p:sp>
      <p:sp>
        <p:nvSpPr>
          <p:cNvPr id="62" name="Flecha: pentágono 61">
            <a:extLst>
              <a:ext uri="{FF2B5EF4-FFF2-40B4-BE49-F238E27FC236}">
                <a16:creationId xmlns:a16="http://schemas.microsoft.com/office/drawing/2014/main" id="{61FA28D4-FA48-D796-C1AE-93FFA3F3DDBF}"/>
              </a:ext>
            </a:extLst>
          </p:cNvPr>
          <p:cNvSpPr/>
          <p:nvPr/>
        </p:nvSpPr>
        <p:spPr>
          <a:xfrm>
            <a:off x="1747856" y="4290960"/>
            <a:ext cx="750103" cy="501482"/>
          </a:xfrm>
          <a:prstGeom prst="homePlate">
            <a:avLst/>
          </a:prstGeom>
          <a:solidFill>
            <a:srgbClr val="DF8639"/>
          </a:solidFill>
          <a:ln w="12700" cap="flat" cmpd="sng" algn="ctr">
            <a:no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s-ES" sz="2400" kern="0" dirty="0">
                <a:solidFill>
                  <a:srgbClr val="FFFFFF"/>
                </a:solidFill>
                <a:latin typeface="Tenorite Display"/>
                <a:ea typeface="Source sans pro"/>
              </a:rPr>
              <a:t>07</a:t>
            </a:r>
            <a:endParaRPr kumimoji="0" lang="es-PE" sz="1800" b="0" i="0" u="none" strike="noStrike" kern="0" cap="none" spc="0" normalizeH="0" baseline="0" noProof="0" dirty="0">
              <a:ln>
                <a:noFill/>
              </a:ln>
              <a:solidFill>
                <a:srgbClr val="FFFFFF"/>
              </a:solidFill>
              <a:effectLst/>
              <a:uLnTx/>
              <a:uFillTx/>
              <a:latin typeface="Tenorite Display"/>
              <a:ea typeface="Source sans pro" panose="020B0503030403020204" pitchFamily="34" charset="0"/>
            </a:endParaRPr>
          </a:p>
        </p:txBody>
      </p:sp>
      <p:sp>
        <p:nvSpPr>
          <p:cNvPr id="63" name="Flecha: cheurón 62">
            <a:extLst>
              <a:ext uri="{FF2B5EF4-FFF2-40B4-BE49-F238E27FC236}">
                <a16:creationId xmlns:a16="http://schemas.microsoft.com/office/drawing/2014/main" id="{7C6A18F7-0A90-6A33-AD6C-6896AF3117CC}"/>
              </a:ext>
            </a:extLst>
          </p:cNvPr>
          <p:cNvSpPr/>
          <p:nvPr/>
        </p:nvSpPr>
        <p:spPr>
          <a:xfrm>
            <a:off x="2334465" y="4290960"/>
            <a:ext cx="3345237" cy="501482"/>
          </a:xfrm>
          <a:prstGeom prst="chevron">
            <a:avLst/>
          </a:prstGeom>
          <a:solidFill>
            <a:srgbClr val="FFFFFF"/>
          </a:solidFill>
          <a:ln w="12700" cap="flat" cmpd="sng" algn="ctr">
            <a:solidFill>
              <a:srgbClr val="DF8639"/>
            </a:solidFill>
            <a:prstDash val="solid"/>
            <a:miter lim="800000"/>
          </a:ln>
          <a:effectLst/>
        </p:spPr>
        <p:txBody>
          <a:bodyPr lIns="91440" tIns="45720" rIns="91440" bIns="45720" rtlCol="0" anchor="ctr"/>
          <a:lstStyle/>
          <a:p>
            <a:r>
              <a:rPr lang="es-ES" sz="1200" dirty="0">
                <a:solidFill>
                  <a:schemeClr val="tx1">
                    <a:lumMod val="65000"/>
                    <a:lumOff val="35000"/>
                  </a:schemeClr>
                </a:solidFill>
                <a:latin typeface="Tenorite Display"/>
                <a:ea typeface="Source sans pro"/>
              </a:rPr>
              <a:t>Estadísticas Ciencia de Datos</a:t>
            </a:r>
            <a:endParaRPr lang="es-ES" dirty="0">
              <a:solidFill>
                <a:schemeClr val="tx1">
                  <a:lumMod val="65000"/>
                  <a:lumOff val="35000"/>
                </a:schemeClr>
              </a:solidFill>
              <a:latin typeface="Tenorite Display"/>
            </a:endParaRPr>
          </a:p>
        </p:txBody>
      </p:sp>
      <p:sp>
        <p:nvSpPr>
          <p:cNvPr id="100" name="Flecha: cheurón 99">
            <a:extLst>
              <a:ext uri="{FF2B5EF4-FFF2-40B4-BE49-F238E27FC236}">
                <a16:creationId xmlns:a16="http://schemas.microsoft.com/office/drawing/2014/main" id="{679672A9-B787-6CBF-1532-619A2EF7E424}"/>
              </a:ext>
            </a:extLst>
          </p:cNvPr>
          <p:cNvSpPr/>
          <p:nvPr/>
        </p:nvSpPr>
        <p:spPr>
          <a:xfrm>
            <a:off x="5585590" y="4290960"/>
            <a:ext cx="2000326" cy="501482"/>
          </a:xfrm>
          <a:prstGeom prst="chevron">
            <a:avLst/>
          </a:prstGeom>
          <a:solidFill>
            <a:srgbClr val="FFE5C4"/>
          </a:solidFill>
          <a:ln w="12700" cap="flat" cmpd="sng" algn="ctr">
            <a:noFill/>
            <a:prstDash val="solid"/>
            <a:miter lim="800000"/>
          </a:ln>
          <a:effectLst/>
        </p:spPr>
        <p:txBody>
          <a:bodyPr rtlCol="0" anchor="ctr"/>
          <a:lstStyle/>
          <a:p>
            <a:pPr algn="ctr"/>
            <a:r>
              <a:rPr kumimoji="0" lang="es-PE" sz="1100" b="0" i="0" strike="noStrike" kern="1200" cap="none" spc="0" normalizeH="0" baseline="0" dirty="0">
                <a:ln>
                  <a:noFill/>
                </a:ln>
                <a:solidFill>
                  <a:schemeClr val="tx1">
                    <a:lumMod val="65000"/>
                    <a:lumOff val="35000"/>
                  </a:schemeClr>
                </a:solidFill>
                <a:effectLst/>
                <a:uLnTx/>
                <a:uFillTx/>
                <a:latin typeface="Tenorite Display"/>
                <a:ea typeface="Source sans pro" panose="020B0503030403020204" pitchFamily="34" charset="0"/>
                <a:cs typeface="Arial" pitchFamily="34" charset="0"/>
              </a:rPr>
              <a:t>Uso de ML Flow</a:t>
            </a:r>
          </a:p>
        </p:txBody>
      </p:sp>
      <p:sp>
        <p:nvSpPr>
          <p:cNvPr id="101" name="Flecha: cheurón 100">
            <a:extLst>
              <a:ext uri="{FF2B5EF4-FFF2-40B4-BE49-F238E27FC236}">
                <a16:creationId xmlns:a16="http://schemas.microsoft.com/office/drawing/2014/main" id="{6208E655-2646-59C4-3348-774004954779}"/>
              </a:ext>
            </a:extLst>
          </p:cNvPr>
          <p:cNvSpPr/>
          <p:nvPr/>
        </p:nvSpPr>
        <p:spPr>
          <a:xfrm>
            <a:off x="7512101" y="4290960"/>
            <a:ext cx="2317699" cy="501482"/>
          </a:xfrm>
          <a:prstGeom prst="chevron">
            <a:avLst/>
          </a:prstGeom>
          <a:solidFill>
            <a:srgbClr val="FFE5C4"/>
          </a:solidFill>
          <a:ln w="12700" cap="flat" cmpd="sng" algn="ctr">
            <a:noFill/>
            <a:prstDash val="solid"/>
            <a:miter lim="800000"/>
          </a:ln>
          <a:effectLst/>
        </p:spPr>
        <p:txBody>
          <a:bodyPr lIns="91440" tIns="45720" rIns="91440" bIns="45720" rtlCol="0" anchor="ctr"/>
          <a:lstStyle/>
          <a:p>
            <a:pPr algn="ctr">
              <a:defRPr/>
            </a:pPr>
            <a:r>
              <a:rPr lang="es-ES" sz="1200" kern="0" dirty="0">
                <a:solidFill>
                  <a:schemeClr val="tx1">
                    <a:lumMod val="65000"/>
                    <a:lumOff val="35000"/>
                  </a:schemeClr>
                </a:solidFill>
                <a:latin typeface="Tenorite Display"/>
                <a:ea typeface="Source sans pro"/>
              </a:rPr>
              <a:t>Data </a:t>
            </a:r>
            <a:r>
              <a:rPr lang="es-ES" sz="1200" kern="0" dirty="0" err="1">
                <a:solidFill>
                  <a:schemeClr val="tx1">
                    <a:lumMod val="65000"/>
                    <a:lumOff val="35000"/>
                  </a:schemeClr>
                </a:solidFill>
                <a:latin typeface="Tenorite Display"/>
                <a:ea typeface="Source sans pro"/>
              </a:rPr>
              <a:t>Science</a:t>
            </a:r>
            <a:endParaRPr lang="es-PE" sz="1200" b="0" i="0" u="none" strike="noStrike" kern="0" cap="none" spc="0" normalizeH="0" baseline="0" noProof="0" dirty="0">
              <a:ln>
                <a:noFill/>
              </a:ln>
              <a:solidFill>
                <a:schemeClr val="tx1">
                  <a:lumMod val="65000"/>
                  <a:lumOff val="35000"/>
                </a:schemeClr>
              </a:solidFill>
              <a:effectLst/>
              <a:uLnTx/>
              <a:uFillTx/>
              <a:latin typeface="Tenorite Display"/>
              <a:ea typeface="Source sans pro" panose="020B0503030403020204" pitchFamily="34" charset="0"/>
            </a:endParaRPr>
          </a:p>
        </p:txBody>
      </p:sp>
      <p:sp>
        <p:nvSpPr>
          <p:cNvPr id="102" name="Flecha: pentágono 101">
            <a:extLst>
              <a:ext uri="{FF2B5EF4-FFF2-40B4-BE49-F238E27FC236}">
                <a16:creationId xmlns:a16="http://schemas.microsoft.com/office/drawing/2014/main" id="{8661FABE-F997-3130-89DD-350EC1DDC91C}"/>
              </a:ext>
            </a:extLst>
          </p:cNvPr>
          <p:cNvSpPr/>
          <p:nvPr/>
        </p:nvSpPr>
        <p:spPr>
          <a:xfrm>
            <a:off x="1747856" y="5313078"/>
            <a:ext cx="750103" cy="501482"/>
          </a:xfrm>
          <a:prstGeom prst="homePlate">
            <a:avLst/>
          </a:prstGeom>
          <a:solidFill>
            <a:srgbClr val="008FD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s-ES" sz="2400" kern="0" dirty="0">
                <a:solidFill>
                  <a:srgbClr val="FFFFFF"/>
                </a:solidFill>
                <a:latin typeface="Tenorite Display"/>
                <a:ea typeface="Source sans pro" panose="020B0503030403020204" pitchFamily="34" charset="0"/>
              </a:rPr>
              <a:t>09</a:t>
            </a:r>
            <a:endParaRPr kumimoji="0" lang="es-PE" sz="1800" b="0" i="0" u="none" strike="noStrike" kern="0" cap="none" spc="0" normalizeH="0" baseline="0" noProof="0" dirty="0">
              <a:ln>
                <a:noFill/>
              </a:ln>
              <a:solidFill>
                <a:srgbClr val="FFFFFF"/>
              </a:solidFill>
              <a:effectLst/>
              <a:uLnTx/>
              <a:uFillTx/>
              <a:latin typeface="Tenorite Display"/>
              <a:ea typeface="Source sans pro" panose="020B0503030403020204" pitchFamily="34" charset="0"/>
            </a:endParaRPr>
          </a:p>
        </p:txBody>
      </p:sp>
      <p:sp>
        <p:nvSpPr>
          <p:cNvPr id="103" name="Flecha: cheurón 102">
            <a:extLst>
              <a:ext uri="{FF2B5EF4-FFF2-40B4-BE49-F238E27FC236}">
                <a16:creationId xmlns:a16="http://schemas.microsoft.com/office/drawing/2014/main" id="{06A032DC-B187-E40C-ECD4-4BA99F0120BB}"/>
              </a:ext>
            </a:extLst>
          </p:cNvPr>
          <p:cNvSpPr/>
          <p:nvPr/>
        </p:nvSpPr>
        <p:spPr>
          <a:xfrm>
            <a:off x="2334465" y="5313078"/>
            <a:ext cx="3345237" cy="501482"/>
          </a:xfrm>
          <a:prstGeom prst="chevron">
            <a:avLst/>
          </a:prstGeom>
          <a:solidFill>
            <a:srgbClr val="FFFFFF"/>
          </a:solidFill>
          <a:ln w="12700" cap="flat" cmpd="sng" algn="ctr">
            <a:solidFill>
              <a:srgbClr val="008FD2"/>
            </a:solidFill>
            <a:prstDash val="solid"/>
            <a:miter lim="800000"/>
          </a:ln>
          <a:effectLst/>
        </p:spPr>
        <p:txBody>
          <a:bodyPr lIns="91440" tIns="45720" rIns="91440" bIns="45720" rtlCol="0" anchor="ctr"/>
          <a:lstStyle/>
          <a:p>
            <a:r>
              <a:rPr lang="es-ES" sz="1200" dirty="0">
                <a:solidFill>
                  <a:schemeClr val="tx1">
                    <a:lumMod val="65000"/>
                    <a:lumOff val="35000"/>
                  </a:schemeClr>
                </a:solidFill>
                <a:latin typeface="Tenorite Display"/>
                <a:ea typeface="Source sans pro" panose="020B0503030403020204" pitchFamily="34" charset="0"/>
              </a:rPr>
              <a:t>Infraestructura (Apagado NP)</a:t>
            </a:r>
            <a:endParaRPr lang="es-PE" sz="1200" dirty="0">
              <a:solidFill>
                <a:schemeClr val="tx1">
                  <a:lumMod val="65000"/>
                  <a:lumOff val="35000"/>
                </a:schemeClr>
              </a:solidFill>
              <a:latin typeface="Tenorite Display"/>
              <a:ea typeface="Source sans pro" panose="020B0503030403020204" pitchFamily="34" charset="0"/>
            </a:endParaRPr>
          </a:p>
        </p:txBody>
      </p:sp>
      <p:sp>
        <p:nvSpPr>
          <p:cNvPr id="104" name="Flecha: cheurón 103">
            <a:extLst>
              <a:ext uri="{FF2B5EF4-FFF2-40B4-BE49-F238E27FC236}">
                <a16:creationId xmlns:a16="http://schemas.microsoft.com/office/drawing/2014/main" id="{CF56D3D7-F773-A30F-465A-A92A13BEC34D}"/>
              </a:ext>
            </a:extLst>
          </p:cNvPr>
          <p:cNvSpPr/>
          <p:nvPr/>
        </p:nvSpPr>
        <p:spPr>
          <a:xfrm>
            <a:off x="5585590" y="5313078"/>
            <a:ext cx="2000326" cy="501482"/>
          </a:xfrm>
          <a:prstGeom prst="chevron">
            <a:avLst/>
          </a:prstGeom>
          <a:solidFill>
            <a:srgbClr val="008FD2">
              <a:lumMod val="20000"/>
              <a:lumOff val="80000"/>
            </a:srgbClr>
          </a:solidFill>
          <a:ln w="12700" cap="flat" cmpd="sng" algn="ctr">
            <a:noFill/>
            <a:prstDash val="solid"/>
            <a:miter lim="800000"/>
          </a:ln>
          <a:effectLst/>
        </p:spPr>
        <p:txBody>
          <a:bodyPr rtlCol="0" anchor="ctr"/>
          <a:lstStyle/>
          <a:p>
            <a:pPr algn="ctr"/>
            <a:r>
              <a:rPr lang="es-ES" sz="1100" dirty="0">
                <a:solidFill>
                  <a:schemeClr val="tx1">
                    <a:lumMod val="65000"/>
                    <a:lumOff val="35000"/>
                  </a:schemeClr>
                </a:solidFill>
                <a:latin typeface="Tenorite Display"/>
                <a:ea typeface="Source sans pro" panose="020B0503030403020204" pitchFamily="34" charset="0"/>
                <a:cs typeface="Arial" pitchFamily="34" charset="0"/>
              </a:rPr>
              <a:t>Inspección</a:t>
            </a:r>
            <a:endParaRPr kumimoji="0" lang="es-PE" sz="1100" b="0" i="0" strike="noStrike" kern="1200" cap="none" spc="0" normalizeH="0" baseline="0" dirty="0">
              <a:ln>
                <a:noFill/>
              </a:ln>
              <a:solidFill>
                <a:schemeClr val="tx1">
                  <a:lumMod val="65000"/>
                  <a:lumOff val="35000"/>
                </a:schemeClr>
              </a:solidFill>
              <a:effectLst/>
              <a:uLnTx/>
              <a:uFillTx/>
              <a:latin typeface="Tenorite Display"/>
              <a:ea typeface="Source sans pro" panose="020B0503030403020204" pitchFamily="34" charset="0"/>
              <a:cs typeface="Arial" pitchFamily="34" charset="0"/>
            </a:endParaRPr>
          </a:p>
        </p:txBody>
      </p:sp>
      <p:sp>
        <p:nvSpPr>
          <p:cNvPr id="105" name="Flecha: cheurón 104">
            <a:extLst>
              <a:ext uri="{FF2B5EF4-FFF2-40B4-BE49-F238E27FC236}">
                <a16:creationId xmlns:a16="http://schemas.microsoft.com/office/drawing/2014/main" id="{9C19A823-AEFB-6C7D-6444-2E79E740D581}"/>
              </a:ext>
            </a:extLst>
          </p:cNvPr>
          <p:cNvSpPr/>
          <p:nvPr/>
        </p:nvSpPr>
        <p:spPr>
          <a:xfrm>
            <a:off x="7512101" y="5313078"/>
            <a:ext cx="2317699" cy="501482"/>
          </a:xfrm>
          <a:prstGeom prst="chevron">
            <a:avLst/>
          </a:prstGeom>
          <a:solidFill>
            <a:srgbClr val="008FD2">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s-ES" sz="1200" kern="0" dirty="0">
                <a:solidFill>
                  <a:schemeClr val="tx1">
                    <a:lumMod val="65000"/>
                    <a:lumOff val="35000"/>
                  </a:schemeClr>
                </a:solidFill>
                <a:latin typeface="Tenorite Display"/>
                <a:ea typeface="Source sans pro" panose="020B0503030403020204" pitchFamily="34" charset="0"/>
              </a:rPr>
              <a:t>Equipo de Desarrollo</a:t>
            </a:r>
            <a:endParaRPr kumimoji="0" lang="es-PE" sz="1200" b="0" i="0" u="none" strike="noStrike" kern="0" cap="none" spc="0" normalizeH="0" baseline="0" noProof="0" dirty="0">
              <a:ln>
                <a:noFill/>
              </a:ln>
              <a:solidFill>
                <a:schemeClr val="tx1">
                  <a:lumMod val="65000"/>
                  <a:lumOff val="35000"/>
                </a:schemeClr>
              </a:solidFill>
              <a:effectLst/>
              <a:uLnTx/>
              <a:uFillTx/>
              <a:latin typeface="Tenorite Display"/>
              <a:ea typeface="Source sans pro" panose="020B0503030403020204" pitchFamily="34" charset="0"/>
            </a:endParaRPr>
          </a:p>
        </p:txBody>
      </p:sp>
      <p:sp>
        <p:nvSpPr>
          <p:cNvPr id="106" name="Flecha: pentágono 105">
            <a:extLst>
              <a:ext uri="{FF2B5EF4-FFF2-40B4-BE49-F238E27FC236}">
                <a16:creationId xmlns:a16="http://schemas.microsoft.com/office/drawing/2014/main" id="{8A3A9418-B0A8-60F8-32E5-EC663FCB4CCB}"/>
              </a:ext>
            </a:extLst>
          </p:cNvPr>
          <p:cNvSpPr/>
          <p:nvPr/>
        </p:nvSpPr>
        <p:spPr>
          <a:xfrm>
            <a:off x="1747856" y="5847384"/>
            <a:ext cx="750103" cy="501482"/>
          </a:xfrm>
          <a:prstGeom prst="homePlate">
            <a:avLst/>
          </a:prstGeom>
          <a:solidFill>
            <a:srgbClr val="98002E"/>
          </a:solidFill>
          <a:ln w="12700" cap="flat" cmpd="sng" algn="ctr">
            <a:no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2400" b="0" i="0" u="none" strike="noStrike" kern="0" cap="none" spc="0" normalizeH="0" baseline="0" noProof="0" dirty="0">
                <a:ln>
                  <a:noFill/>
                </a:ln>
                <a:solidFill>
                  <a:srgbClr val="FFFFFF"/>
                </a:solidFill>
                <a:effectLst/>
                <a:uLnTx/>
                <a:uFillTx/>
                <a:latin typeface="Tenorite Display"/>
                <a:ea typeface="Source sans pro"/>
              </a:rPr>
              <a:t>10</a:t>
            </a:r>
            <a:endParaRPr kumimoji="0" lang="es-PE" sz="1800" b="0" i="0" u="none" strike="noStrike" kern="0" cap="none" spc="0" normalizeH="0" baseline="0" noProof="0" dirty="0">
              <a:ln>
                <a:noFill/>
              </a:ln>
              <a:solidFill>
                <a:srgbClr val="FFFFFF"/>
              </a:solidFill>
              <a:effectLst/>
              <a:uLnTx/>
              <a:uFillTx/>
              <a:latin typeface="Tenorite Display"/>
              <a:ea typeface="Source sans pro" panose="020B0503030403020204" pitchFamily="34" charset="0"/>
            </a:endParaRPr>
          </a:p>
        </p:txBody>
      </p:sp>
      <p:sp>
        <p:nvSpPr>
          <p:cNvPr id="107" name="Flecha: cheurón 106">
            <a:extLst>
              <a:ext uri="{FF2B5EF4-FFF2-40B4-BE49-F238E27FC236}">
                <a16:creationId xmlns:a16="http://schemas.microsoft.com/office/drawing/2014/main" id="{BA7A5D64-EE73-A446-86D3-72FFE839371E}"/>
              </a:ext>
            </a:extLst>
          </p:cNvPr>
          <p:cNvSpPr/>
          <p:nvPr/>
        </p:nvSpPr>
        <p:spPr>
          <a:xfrm>
            <a:off x="2334465" y="5847384"/>
            <a:ext cx="3345237" cy="501482"/>
          </a:xfrm>
          <a:prstGeom prst="chevron">
            <a:avLst/>
          </a:prstGeom>
          <a:solidFill>
            <a:srgbClr val="FFFFFF"/>
          </a:solidFill>
          <a:ln w="12700" cap="flat" cmpd="sng" algn="ctr">
            <a:solidFill>
              <a:srgbClr val="97002E"/>
            </a:solidFill>
            <a:prstDash val="solid"/>
            <a:miter lim="800000"/>
          </a:ln>
          <a:effectLst/>
        </p:spPr>
        <p:txBody>
          <a:bodyPr lIns="91440" tIns="45720" rIns="91440" bIns="45720" rtlCol="0" anchor="ctr"/>
          <a:lstStyle/>
          <a:p>
            <a:r>
              <a:rPr lang="es-MX" sz="1200" dirty="0">
                <a:solidFill>
                  <a:schemeClr val="tx1">
                    <a:lumMod val="65000"/>
                    <a:lumOff val="35000"/>
                  </a:schemeClr>
                </a:solidFill>
                <a:latin typeface="Tenorite Display"/>
                <a:ea typeface="Source Sans Pro"/>
              </a:rPr>
              <a:t>Orden Componentes </a:t>
            </a:r>
            <a:r>
              <a:rPr lang="es-MX" sz="1200" dirty="0" err="1">
                <a:solidFill>
                  <a:schemeClr val="tx1">
                    <a:lumMod val="65000"/>
                    <a:lumOff val="35000"/>
                  </a:schemeClr>
                </a:solidFill>
                <a:latin typeface="Tenorite Display"/>
                <a:ea typeface="Source Sans Pro"/>
              </a:rPr>
              <a:t>Databricks</a:t>
            </a:r>
            <a:endParaRPr lang="es-ES" sz="1200" dirty="0">
              <a:solidFill>
                <a:schemeClr val="tx1">
                  <a:lumMod val="65000"/>
                  <a:lumOff val="35000"/>
                </a:schemeClr>
              </a:solidFill>
              <a:latin typeface="Tenorite Display"/>
              <a:ea typeface="Source Sans Pro"/>
            </a:endParaRPr>
          </a:p>
        </p:txBody>
      </p:sp>
      <p:sp>
        <p:nvSpPr>
          <p:cNvPr id="108" name="Flecha: cheurón 107">
            <a:extLst>
              <a:ext uri="{FF2B5EF4-FFF2-40B4-BE49-F238E27FC236}">
                <a16:creationId xmlns:a16="http://schemas.microsoft.com/office/drawing/2014/main" id="{A9E1D856-98F6-0DC8-9D38-4F81F95A5B1F}"/>
              </a:ext>
            </a:extLst>
          </p:cNvPr>
          <p:cNvSpPr/>
          <p:nvPr/>
        </p:nvSpPr>
        <p:spPr>
          <a:xfrm>
            <a:off x="5585590" y="5847384"/>
            <a:ext cx="2000326" cy="501482"/>
          </a:xfrm>
          <a:prstGeom prst="chevron">
            <a:avLst/>
          </a:prstGeom>
          <a:solidFill>
            <a:srgbClr val="FFB7CD"/>
          </a:solidFill>
          <a:ln w="12700" cap="flat" cmpd="sng" algn="ctr">
            <a:noFill/>
            <a:prstDash val="solid"/>
            <a:miter lim="800000"/>
          </a:ln>
          <a:effectLst/>
        </p:spPr>
        <p:txBody>
          <a:bodyPr rtlCol="0" anchor="ctr"/>
          <a:lstStyle/>
          <a:p>
            <a:pPr algn="ctr"/>
            <a:r>
              <a:rPr kumimoji="0" lang="es-PE" sz="1100" b="0" i="0" strike="noStrike" kern="1200" cap="none" spc="0" normalizeH="0" baseline="0" dirty="0">
                <a:ln>
                  <a:noFill/>
                </a:ln>
                <a:solidFill>
                  <a:schemeClr val="tx1">
                    <a:lumMod val="65000"/>
                    <a:lumOff val="35000"/>
                  </a:schemeClr>
                </a:solidFill>
                <a:effectLst/>
                <a:uLnTx/>
                <a:uFillTx/>
                <a:latin typeface="Tenorite Display"/>
                <a:ea typeface="Source sans pro" panose="020B0503030403020204" pitchFamily="34" charset="0"/>
                <a:cs typeface="Arial" pitchFamily="34" charset="0"/>
              </a:rPr>
              <a:t>Inspección</a:t>
            </a:r>
          </a:p>
        </p:txBody>
      </p:sp>
      <p:sp>
        <p:nvSpPr>
          <p:cNvPr id="109" name="Flecha: cheurón 108">
            <a:extLst>
              <a:ext uri="{FF2B5EF4-FFF2-40B4-BE49-F238E27FC236}">
                <a16:creationId xmlns:a16="http://schemas.microsoft.com/office/drawing/2014/main" id="{C665E8E4-C14A-07E8-2ADB-6FE1725423EF}"/>
              </a:ext>
            </a:extLst>
          </p:cNvPr>
          <p:cNvSpPr/>
          <p:nvPr/>
        </p:nvSpPr>
        <p:spPr>
          <a:xfrm>
            <a:off x="7512101" y="5847384"/>
            <a:ext cx="2317699" cy="501482"/>
          </a:xfrm>
          <a:prstGeom prst="chevron">
            <a:avLst/>
          </a:prstGeom>
          <a:solidFill>
            <a:srgbClr val="FFB7CD"/>
          </a:solidFill>
          <a:ln w="12700" cap="flat" cmpd="sng" algn="ctr">
            <a:noFill/>
            <a:prstDash val="solid"/>
            <a:miter lim="800000"/>
          </a:ln>
          <a:effectLst/>
        </p:spPr>
        <p:txBody>
          <a:bodyPr rtlCol="0" anchor="ctr"/>
          <a:lstStyle/>
          <a:p>
            <a:pPr lvl="0" algn="ctr">
              <a:defRPr/>
            </a:pPr>
            <a:r>
              <a:rPr lang="es-ES" sz="1200" kern="0" dirty="0">
                <a:solidFill>
                  <a:schemeClr val="tx1">
                    <a:lumMod val="65000"/>
                    <a:lumOff val="35000"/>
                  </a:schemeClr>
                </a:solidFill>
                <a:latin typeface="Tenorite Display"/>
                <a:ea typeface="Source sans pro" panose="020B0503030403020204" pitchFamily="34" charset="0"/>
              </a:rPr>
              <a:t>Equipo de Desarrollo</a:t>
            </a:r>
            <a:endParaRPr lang="es-PE" sz="1200" kern="0" dirty="0">
              <a:solidFill>
                <a:schemeClr val="tx1">
                  <a:lumMod val="65000"/>
                  <a:lumOff val="35000"/>
                </a:schemeClr>
              </a:solidFill>
              <a:latin typeface="Tenorite Display"/>
              <a:ea typeface="Source sans pro" panose="020B0503030403020204" pitchFamily="34" charset="0"/>
            </a:endParaRPr>
          </a:p>
        </p:txBody>
      </p:sp>
      <p:sp>
        <p:nvSpPr>
          <p:cNvPr id="110" name="Flecha: pentágono 109">
            <a:extLst>
              <a:ext uri="{FF2B5EF4-FFF2-40B4-BE49-F238E27FC236}">
                <a16:creationId xmlns:a16="http://schemas.microsoft.com/office/drawing/2014/main" id="{14DC6F5A-F457-A4C6-BCA5-949378DF3A6C}"/>
              </a:ext>
            </a:extLst>
          </p:cNvPr>
          <p:cNvSpPr/>
          <p:nvPr/>
        </p:nvSpPr>
        <p:spPr>
          <a:xfrm>
            <a:off x="1747856" y="6342837"/>
            <a:ext cx="750103" cy="501482"/>
          </a:xfrm>
          <a:prstGeom prst="homePlate">
            <a:avLst/>
          </a:prstGeom>
          <a:solidFill>
            <a:srgbClr val="DF8639"/>
          </a:solidFill>
          <a:ln w="12700" cap="flat" cmpd="sng" algn="ctr">
            <a:no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2400" b="0" i="0" u="none" strike="noStrike" kern="0" cap="none" spc="0" normalizeH="0" baseline="0" noProof="0" dirty="0">
                <a:ln>
                  <a:noFill/>
                </a:ln>
                <a:solidFill>
                  <a:srgbClr val="FFFFFF"/>
                </a:solidFill>
                <a:effectLst/>
                <a:uLnTx/>
                <a:uFillTx/>
                <a:latin typeface="Tenorite Display"/>
                <a:ea typeface="Source sans pro"/>
              </a:rPr>
              <a:t>11</a:t>
            </a:r>
            <a:endParaRPr kumimoji="0" lang="es-PE" sz="1800" b="0" i="0" u="none" strike="noStrike" kern="0" cap="none" spc="0" normalizeH="0" baseline="0" noProof="0" dirty="0">
              <a:ln>
                <a:noFill/>
              </a:ln>
              <a:solidFill>
                <a:srgbClr val="FFFFFF"/>
              </a:solidFill>
              <a:effectLst/>
              <a:uLnTx/>
              <a:uFillTx/>
              <a:latin typeface="Tenorite Display"/>
              <a:ea typeface="Source sans pro" panose="020B0503030403020204" pitchFamily="34" charset="0"/>
            </a:endParaRPr>
          </a:p>
        </p:txBody>
      </p:sp>
      <p:sp>
        <p:nvSpPr>
          <p:cNvPr id="111" name="Flecha: cheurón 110">
            <a:extLst>
              <a:ext uri="{FF2B5EF4-FFF2-40B4-BE49-F238E27FC236}">
                <a16:creationId xmlns:a16="http://schemas.microsoft.com/office/drawing/2014/main" id="{9DB3AA61-6F69-1197-2FD7-2841C8D8397A}"/>
              </a:ext>
            </a:extLst>
          </p:cNvPr>
          <p:cNvSpPr/>
          <p:nvPr/>
        </p:nvSpPr>
        <p:spPr>
          <a:xfrm>
            <a:off x="2334465" y="6342837"/>
            <a:ext cx="3345237" cy="501482"/>
          </a:xfrm>
          <a:prstGeom prst="chevron">
            <a:avLst/>
          </a:prstGeom>
          <a:solidFill>
            <a:srgbClr val="FFFFFF"/>
          </a:solidFill>
          <a:ln w="12700" cap="flat" cmpd="sng" algn="ctr">
            <a:solidFill>
              <a:srgbClr val="DF8639"/>
            </a:solidFill>
            <a:prstDash val="solid"/>
            <a:miter lim="800000"/>
          </a:ln>
          <a:effectLst/>
        </p:spPr>
        <p:txBody>
          <a:bodyPr lIns="91440" tIns="45720" rIns="91440" bIns="45720" rtlCol="0" anchor="ctr"/>
          <a:lstStyle/>
          <a:p>
            <a:r>
              <a:rPr lang="es-ES" sz="1200" dirty="0">
                <a:solidFill>
                  <a:schemeClr val="tx1">
                    <a:lumMod val="65000"/>
                    <a:lumOff val="35000"/>
                  </a:schemeClr>
                </a:solidFill>
                <a:latin typeface="Tenorite Display"/>
                <a:ea typeface="Source sans pro"/>
              </a:rPr>
              <a:t>Uso de no </a:t>
            </a:r>
            <a:r>
              <a:rPr lang="es-ES" sz="1200" dirty="0" err="1">
                <a:solidFill>
                  <a:schemeClr val="tx1">
                    <a:lumMod val="65000"/>
                    <a:lumOff val="35000"/>
                  </a:schemeClr>
                </a:solidFill>
                <a:latin typeface="Tenorite Display"/>
                <a:ea typeface="Source sans pro"/>
              </a:rPr>
              <a:t>hard</a:t>
            </a:r>
            <a:r>
              <a:rPr lang="es-ES" sz="1200" dirty="0">
                <a:solidFill>
                  <a:schemeClr val="tx1">
                    <a:lumMod val="65000"/>
                    <a:lumOff val="35000"/>
                  </a:schemeClr>
                </a:solidFill>
                <a:latin typeface="Tenorite Display"/>
                <a:ea typeface="Source sans pro"/>
              </a:rPr>
              <a:t> </a:t>
            </a:r>
            <a:r>
              <a:rPr lang="es-ES" sz="1200" dirty="0" err="1">
                <a:solidFill>
                  <a:schemeClr val="tx1">
                    <a:lumMod val="65000"/>
                    <a:lumOff val="35000"/>
                  </a:schemeClr>
                </a:solidFill>
                <a:latin typeface="Tenorite Display"/>
                <a:ea typeface="Source sans pro"/>
              </a:rPr>
              <a:t>codes</a:t>
            </a:r>
            <a:endParaRPr lang="es-ES" dirty="0">
              <a:solidFill>
                <a:schemeClr val="tx1">
                  <a:lumMod val="65000"/>
                  <a:lumOff val="35000"/>
                </a:schemeClr>
              </a:solidFill>
              <a:latin typeface="Tenorite Display"/>
            </a:endParaRPr>
          </a:p>
        </p:txBody>
      </p:sp>
      <p:sp>
        <p:nvSpPr>
          <p:cNvPr id="112" name="Flecha: cheurón 111">
            <a:extLst>
              <a:ext uri="{FF2B5EF4-FFF2-40B4-BE49-F238E27FC236}">
                <a16:creationId xmlns:a16="http://schemas.microsoft.com/office/drawing/2014/main" id="{CA06C5A0-7463-6403-47B7-15126B31B3A7}"/>
              </a:ext>
            </a:extLst>
          </p:cNvPr>
          <p:cNvSpPr/>
          <p:nvPr/>
        </p:nvSpPr>
        <p:spPr>
          <a:xfrm>
            <a:off x="5585590" y="6342837"/>
            <a:ext cx="2000326" cy="501482"/>
          </a:xfrm>
          <a:prstGeom prst="chevron">
            <a:avLst/>
          </a:prstGeom>
          <a:solidFill>
            <a:srgbClr val="FFE5C4"/>
          </a:solidFill>
          <a:ln w="12700" cap="flat" cmpd="sng" algn="ctr">
            <a:noFill/>
            <a:prstDash val="solid"/>
            <a:miter lim="800000"/>
          </a:ln>
          <a:effectLst/>
        </p:spPr>
        <p:txBody>
          <a:bodyPr rtlCol="0" anchor="ctr"/>
          <a:lstStyle/>
          <a:p>
            <a:pPr algn="ctr"/>
            <a:r>
              <a:rPr kumimoji="0" lang="es-PE" sz="1100" b="0" i="0" strike="noStrike" kern="1200" cap="none" spc="0" normalizeH="0" baseline="0" dirty="0">
                <a:ln>
                  <a:noFill/>
                </a:ln>
                <a:solidFill>
                  <a:schemeClr val="tx1">
                    <a:lumMod val="65000"/>
                    <a:lumOff val="35000"/>
                  </a:schemeClr>
                </a:solidFill>
                <a:effectLst/>
                <a:uLnTx/>
                <a:uFillTx/>
                <a:latin typeface="Tenorite Display"/>
                <a:ea typeface="Source sans pro" panose="020B0503030403020204" pitchFamily="34" charset="0"/>
                <a:cs typeface="Arial" pitchFamily="34" charset="0"/>
              </a:rPr>
              <a:t>Inspección</a:t>
            </a:r>
          </a:p>
        </p:txBody>
      </p:sp>
      <p:sp>
        <p:nvSpPr>
          <p:cNvPr id="113" name="Flecha: cheurón 112">
            <a:extLst>
              <a:ext uri="{FF2B5EF4-FFF2-40B4-BE49-F238E27FC236}">
                <a16:creationId xmlns:a16="http://schemas.microsoft.com/office/drawing/2014/main" id="{12FC40D0-A977-395B-339A-137C8C702BD3}"/>
              </a:ext>
            </a:extLst>
          </p:cNvPr>
          <p:cNvSpPr/>
          <p:nvPr/>
        </p:nvSpPr>
        <p:spPr>
          <a:xfrm>
            <a:off x="7512101" y="6342837"/>
            <a:ext cx="2317699" cy="501482"/>
          </a:xfrm>
          <a:prstGeom prst="chevron">
            <a:avLst/>
          </a:prstGeom>
          <a:solidFill>
            <a:srgbClr val="FFE5C4"/>
          </a:solidFill>
          <a:ln w="12700" cap="flat" cmpd="sng" algn="ctr">
            <a:noFill/>
            <a:prstDash val="solid"/>
            <a:miter lim="800000"/>
          </a:ln>
          <a:effectLst/>
        </p:spPr>
        <p:txBody>
          <a:bodyPr lIns="91440" tIns="45720" rIns="91440" bIns="45720" rtlCol="0" anchor="ctr"/>
          <a:lstStyle/>
          <a:p>
            <a:pPr algn="ctr">
              <a:defRPr/>
            </a:pPr>
            <a:r>
              <a:rPr lang="es-ES" sz="1200" kern="0" dirty="0">
                <a:solidFill>
                  <a:schemeClr val="tx1">
                    <a:lumMod val="65000"/>
                    <a:lumOff val="35000"/>
                  </a:schemeClr>
                </a:solidFill>
                <a:latin typeface="Tenorite Display"/>
                <a:ea typeface="Source sans pro"/>
              </a:rPr>
              <a:t>Equipo de Desarrollo</a:t>
            </a:r>
          </a:p>
        </p:txBody>
      </p:sp>
    </p:spTree>
    <p:extLst>
      <p:ext uri="{BB962C8B-B14F-4D97-AF65-F5344CB8AC3E}">
        <p14:creationId xmlns:p14="http://schemas.microsoft.com/office/powerpoint/2010/main" val="287828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90CF07-67E0-798B-D275-25D6A00A2B38}"/>
            </a:ext>
          </a:extLst>
        </p:cNvPr>
        <p:cNvGrpSpPr/>
        <p:nvPr/>
      </p:nvGrpSpPr>
      <p:grpSpPr>
        <a:xfrm>
          <a:off x="0" y="0"/>
          <a:ext cx="0" cy="0"/>
          <a:chOff x="0" y="0"/>
          <a:chExt cx="0" cy="0"/>
        </a:xfrm>
      </p:grpSpPr>
      <p:pic>
        <p:nvPicPr>
          <p:cNvPr id="7" name="Imagen 6" descr="Imagen que contiene Logotipo&#10;&#10;Descripción generada automáticamente">
            <a:extLst>
              <a:ext uri="{FF2B5EF4-FFF2-40B4-BE49-F238E27FC236}">
                <a16:creationId xmlns:a16="http://schemas.microsoft.com/office/drawing/2014/main" id="{C9300CFD-D0C7-B796-4CA5-5108BE111D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0800000">
            <a:off x="5081070" y="5797825"/>
            <a:ext cx="7110930" cy="1060175"/>
          </a:xfrm>
          <a:prstGeom prst="rect">
            <a:avLst/>
          </a:prstGeom>
        </p:spPr>
      </p:pic>
      <p:graphicFrame>
        <p:nvGraphicFramePr>
          <p:cNvPr id="3" name="Objeto 2" hidden="1">
            <a:extLst>
              <a:ext uri="{FF2B5EF4-FFF2-40B4-BE49-F238E27FC236}">
                <a16:creationId xmlns:a16="http://schemas.microsoft.com/office/drawing/2014/main" id="{C5B0BF88-316C-244D-57BB-13A5FC666EA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3" name="Objeto 2" hidden="1">
                        <a:extLst>
                          <a:ext uri="{FF2B5EF4-FFF2-40B4-BE49-F238E27FC236}">
                            <a16:creationId xmlns:a16="http://schemas.microsoft.com/office/drawing/2014/main" id="{C5B0BF88-316C-244D-57BB-13A5FC666EA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FEF6EABD-4189-37B2-7B4D-57974C18F8CB}"/>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28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sym typeface="Calibri" panose="020F0502020204030204" pitchFamily="34" charset="0"/>
            </a:endParaRPr>
          </a:p>
        </p:txBody>
      </p:sp>
      <p:pic>
        <p:nvPicPr>
          <p:cNvPr id="38" name="Imagen 37" descr="Imagen que contiene Logotipo&#10;&#10;Descripción generada automáticamente">
            <a:extLst>
              <a:ext uri="{FF2B5EF4-FFF2-40B4-BE49-F238E27FC236}">
                <a16:creationId xmlns:a16="http://schemas.microsoft.com/office/drawing/2014/main" id="{80B7E364-C7B6-E074-98DD-642C1D55238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7110930" cy="1060175"/>
          </a:xfrm>
          <a:prstGeom prst="rect">
            <a:avLst/>
          </a:prstGeom>
        </p:spPr>
      </p:pic>
      <p:pic>
        <p:nvPicPr>
          <p:cNvPr id="6" name="Imagen 5" descr="Logotipo&#10;&#10;Descripción generada automáticamente">
            <a:extLst>
              <a:ext uri="{FF2B5EF4-FFF2-40B4-BE49-F238E27FC236}">
                <a16:creationId xmlns:a16="http://schemas.microsoft.com/office/drawing/2014/main" id="{C3EFEBBA-1061-0415-561D-7D3FE529DD9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29800" y="530086"/>
            <a:ext cx="1905000" cy="698500"/>
          </a:xfrm>
          <a:prstGeom prst="rect">
            <a:avLst/>
          </a:prstGeom>
        </p:spPr>
      </p:pic>
      <p:sp>
        <p:nvSpPr>
          <p:cNvPr id="2" name="Title 2">
            <a:extLst>
              <a:ext uri="{FF2B5EF4-FFF2-40B4-BE49-F238E27FC236}">
                <a16:creationId xmlns:a16="http://schemas.microsoft.com/office/drawing/2014/main" id="{146226B0-BF4B-266C-BBCA-8CC1591B59BB}"/>
              </a:ext>
            </a:extLst>
          </p:cNvPr>
          <p:cNvSpPr>
            <a:spLocks noGrp="1"/>
          </p:cNvSpPr>
          <p:nvPr>
            <p:ph type="title"/>
          </p:nvPr>
        </p:nvSpPr>
        <p:spPr>
          <a:xfrm>
            <a:off x="1993694" y="2753742"/>
            <a:ext cx="8024099" cy="1231106"/>
          </a:xfrm>
        </p:spPr>
        <p:txBody>
          <a:bodyPr anchor="ctr"/>
          <a:lstStyle/>
          <a:p>
            <a:pPr algn="ctr">
              <a:lnSpc>
                <a:spcPct val="100000"/>
              </a:lnSpc>
              <a:spcBef>
                <a:spcPts val="0"/>
              </a:spcBef>
            </a:pPr>
            <a:r>
              <a:rPr lang="es-MX" sz="8000" b="1" noProof="0" dirty="0">
                <a:solidFill>
                  <a:srgbClr val="3FA7A7"/>
                </a:solidFill>
                <a:latin typeface="Source Sans Pro" panose="020B0503030403020204" pitchFamily="34" charset="0"/>
                <a:ea typeface="Source Sans Pro" panose="020B0503030403020204" pitchFamily="34" charset="0"/>
                <a:cs typeface="Open Sans"/>
              </a:rPr>
              <a:t>Gracias</a:t>
            </a:r>
          </a:p>
        </p:txBody>
      </p:sp>
    </p:spTree>
    <p:extLst>
      <p:ext uri="{BB962C8B-B14F-4D97-AF65-F5344CB8AC3E}">
        <p14:creationId xmlns:p14="http://schemas.microsoft.com/office/powerpoint/2010/main" val="2437278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A53859-D211-03F9-3D16-85BD59ADF298}"/>
            </a:ext>
          </a:extLst>
        </p:cNvPr>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81FE1F69-22C1-6E7D-7CAC-F0C15755F7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to 2" hidden="1">
                        <a:extLst>
                          <a:ext uri="{FF2B5EF4-FFF2-40B4-BE49-F238E27FC236}">
                            <a16:creationId xmlns:a16="http://schemas.microsoft.com/office/drawing/2014/main" id="{662185DF-7C43-4818-980E-8591633A155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08FA16DC-B842-0029-0D56-4C6FDA173C02}"/>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28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sym typeface="Calibri" panose="020F0502020204030204" pitchFamily="34" charset="0"/>
            </a:endParaRPr>
          </a:p>
        </p:txBody>
      </p:sp>
      <p:pic>
        <p:nvPicPr>
          <p:cNvPr id="38" name="Imagen 37" descr="Imagen que contiene Logotipo&#10;&#10;Descripción generada automáticamente">
            <a:extLst>
              <a:ext uri="{FF2B5EF4-FFF2-40B4-BE49-F238E27FC236}">
                <a16:creationId xmlns:a16="http://schemas.microsoft.com/office/drawing/2014/main" id="{763B3EA4-459E-A663-E70D-F9973CD5DAF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7110930" cy="1060175"/>
          </a:xfrm>
          <a:prstGeom prst="rect">
            <a:avLst/>
          </a:prstGeom>
        </p:spPr>
      </p:pic>
      <p:pic>
        <p:nvPicPr>
          <p:cNvPr id="6" name="Imagen 5" descr="Logotipo&#10;&#10;Descripción generada automáticamente">
            <a:extLst>
              <a:ext uri="{FF2B5EF4-FFF2-40B4-BE49-F238E27FC236}">
                <a16:creationId xmlns:a16="http://schemas.microsoft.com/office/drawing/2014/main" id="{721A7643-E444-4195-5DB1-47DA5E41FB5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724764" y="145583"/>
            <a:ext cx="1905000" cy="698500"/>
          </a:xfrm>
          <a:prstGeom prst="rect">
            <a:avLst/>
          </a:prstGeom>
        </p:spPr>
      </p:pic>
      <p:sp>
        <p:nvSpPr>
          <p:cNvPr id="13" name="CuadroTexto 12">
            <a:extLst>
              <a:ext uri="{FF2B5EF4-FFF2-40B4-BE49-F238E27FC236}">
                <a16:creationId xmlns:a16="http://schemas.microsoft.com/office/drawing/2014/main" id="{19A365EA-ABB7-1148-F13B-5F2B622DDF15}"/>
              </a:ext>
            </a:extLst>
          </p:cNvPr>
          <p:cNvSpPr txBox="1"/>
          <p:nvPr/>
        </p:nvSpPr>
        <p:spPr>
          <a:xfrm>
            <a:off x="1126673" y="322756"/>
            <a:ext cx="10503091" cy="473058"/>
          </a:xfrm>
          <a:prstGeom prst="rect">
            <a:avLst/>
          </a:prstGeom>
        </p:spPr>
        <p:txBody>
          <a:bodyPr vert="horz" lIns="121920" tIns="60960" rIns="121920" bIns="60960" rtlCol="0" anchor="ctr">
            <a:noAutofit/>
          </a:bodyPr>
          <a:lstStyle/>
          <a:p>
            <a:pPr>
              <a:spcBef>
                <a:spcPct val="20000"/>
              </a:spcBef>
            </a:pPr>
            <a:r>
              <a:rPr lang="es-PE" sz="2800" b="1" noProof="0" dirty="0">
                <a:solidFill>
                  <a:srgbClr val="3FA7A7"/>
                </a:solidFill>
                <a:latin typeface="Source Sans Pro" panose="020B0503030403020204" pitchFamily="34" charset="0"/>
                <a:ea typeface="Source Sans Pro" panose="020B0503030403020204" pitchFamily="34" charset="0"/>
                <a:cs typeface="Open Sans"/>
              </a:rPr>
              <a:t>Introducción</a:t>
            </a:r>
            <a:endParaRPr lang="es-PE" sz="2800" b="1" noProof="0" dirty="0">
              <a:solidFill>
                <a:srgbClr val="3FA7A7"/>
              </a:solidFill>
              <a:latin typeface="Source Sans Pro" panose="020B0503030403020204" pitchFamily="34" charset="0"/>
              <a:ea typeface="Source Sans Pro" panose="020B0503030403020204" pitchFamily="34" charset="0"/>
              <a:cs typeface="Open Sans" panose="020B0606030504020204" pitchFamily="34" charset="0"/>
            </a:endParaRPr>
          </a:p>
        </p:txBody>
      </p:sp>
      <p:pic>
        <p:nvPicPr>
          <p:cNvPr id="2" name="Imagen 1" descr="Imagen que contiene Logotipo&#10;&#10;Descripción generada automáticamente">
            <a:extLst>
              <a:ext uri="{FF2B5EF4-FFF2-40B4-BE49-F238E27FC236}">
                <a16:creationId xmlns:a16="http://schemas.microsoft.com/office/drawing/2014/main" id="{6C126661-AD12-1A85-2124-5A9BB32D52A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10800000">
            <a:off x="5081070" y="5797825"/>
            <a:ext cx="7110930" cy="1060175"/>
          </a:xfrm>
          <a:prstGeom prst="rect">
            <a:avLst/>
          </a:prstGeom>
        </p:spPr>
      </p:pic>
      <p:sp>
        <p:nvSpPr>
          <p:cNvPr id="7" name="Rectángulo: esquinas redondeadas 6">
            <a:extLst>
              <a:ext uri="{FF2B5EF4-FFF2-40B4-BE49-F238E27FC236}">
                <a16:creationId xmlns:a16="http://schemas.microsoft.com/office/drawing/2014/main" id="{F81D7A3C-EDCB-5B67-F0B1-8E2758E7E1D8}"/>
              </a:ext>
            </a:extLst>
          </p:cNvPr>
          <p:cNvSpPr/>
          <p:nvPr/>
        </p:nvSpPr>
        <p:spPr>
          <a:xfrm>
            <a:off x="598598" y="1607033"/>
            <a:ext cx="4162926" cy="2040853"/>
          </a:xfrm>
          <a:prstGeom prst="roundRect">
            <a:avLst>
              <a:gd name="adj" fmla="val 4899"/>
            </a:avLst>
          </a:prstGeom>
          <a:solidFill>
            <a:srgbClr val="00999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8" name="Rectángulo: esquinas redondeadas 7">
            <a:extLst>
              <a:ext uri="{FF2B5EF4-FFF2-40B4-BE49-F238E27FC236}">
                <a16:creationId xmlns:a16="http://schemas.microsoft.com/office/drawing/2014/main" id="{60DA3B32-3585-9088-EC86-F55177E44578}"/>
              </a:ext>
            </a:extLst>
          </p:cNvPr>
          <p:cNvSpPr/>
          <p:nvPr/>
        </p:nvSpPr>
        <p:spPr>
          <a:xfrm>
            <a:off x="818910" y="1775445"/>
            <a:ext cx="4162926" cy="2040853"/>
          </a:xfrm>
          <a:prstGeom prst="roundRect">
            <a:avLst>
              <a:gd name="adj" fmla="val 4899"/>
            </a:avLst>
          </a:prstGeom>
          <a:solidFill>
            <a:schemeClr val="bg1"/>
          </a:solidFill>
          <a:ln>
            <a:solidFill>
              <a:srgbClr val="00999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lgn="just">
              <a:buFont typeface="Arial" panose="020B0604020202020204" pitchFamily="34" charset="0"/>
              <a:buChar char="•"/>
            </a:pPr>
            <a:r>
              <a:rPr lang="es-ES" dirty="0">
                <a:solidFill>
                  <a:schemeClr val="tx1"/>
                </a:solidFill>
              </a:rPr>
              <a:t>Implementación del marco corporativo de </a:t>
            </a:r>
            <a:r>
              <a:rPr lang="es-ES" b="1" dirty="0">
                <a:solidFill>
                  <a:schemeClr val="tx1"/>
                </a:solidFill>
              </a:rPr>
              <a:t>Gobierno de Datos</a:t>
            </a:r>
            <a:r>
              <a:rPr lang="es-ES" dirty="0">
                <a:solidFill>
                  <a:schemeClr val="tx1"/>
                </a:solidFill>
              </a:rPr>
              <a:t>.</a:t>
            </a:r>
          </a:p>
          <a:p>
            <a:pPr marL="285750" indent="-285750" algn="just">
              <a:buFont typeface="Arial" panose="020B0604020202020204" pitchFamily="34" charset="0"/>
              <a:buChar char="•"/>
            </a:pPr>
            <a:r>
              <a:rPr lang="es-ES" b="1" dirty="0">
                <a:solidFill>
                  <a:schemeClr val="tx1"/>
                </a:solidFill>
              </a:rPr>
              <a:t>Alineamiento estratégico </a:t>
            </a:r>
            <a:r>
              <a:rPr lang="es-ES" dirty="0">
                <a:solidFill>
                  <a:schemeClr val="tx1"/>
                </a:solidFill>
              </a:rPr>
              <a:t>entre </a:t>
            </a:r>
            <a:r>
              <a:rPr lang="es-ES" b="1" dirty="0">
                <a:solidFill>
                  <a:schemeClr val="tx1"/>
                </a:solidFill>
              </a:rPr>
              <a:t>TI</a:t>
            </a:r>
            <a:r>
              <a:rPr lang="es-ES" dirty="0">
                <a:solidFill>
                  <a:schemeClr val="tx1"/>
                </a:solidFill>
              </a:rPr>
              <a:t> y </a:t>
            </a:r>
            <a:r>
              <a:rPr lang="es-ES" b="1" dirty="0">
                <a:solidFill>
                  <a:schemeClr val="tx1"/>
                </a:solidFill>
              </a:rPr>
              <a:t>Negocio</a:t>
            </a:r>
            <a:r>
              <a:rPr lang="es-ES" dirty="0">
                <a:solidFill>
                  <a:schemeClr val="tx1"/>
                </a:solidFill>
              </a:rPr>
              <a:t>.</a:t>
            </a:r>
          </a:p>
          <a:p>
            <a:pPr marL="285750" indent="-285750" algn="just">
              <a:buFont typeface="Arial" panose="020B0604020202020204" pitchFamily="34" charset="0"/>
              <a:buChar char="•"/>
            </a:pPr>
            <a:r>
              <a:rPr lang="es-ES" dirty="0">
                <a:solidFill>
                  <a:schemeClr val="tx1"/>
                </a:solidFill>
              </a:rPr>
              <a:t>Enfoque en </a:t>
            </a:r>
            <a:r>
              <a:rPr lang="es-ES" b="1" dirty="0">
                <a:solidFill>
                  <a:schemeClr val="tx1"/>
                </a:solidFill>
              </a:rPr>
              <a:t>estandarización</a:t>
            </a:r>
            <a:r>
              <a:rPr lang="es-ES" dirty="0">
                <a:solidFill>
                  <a:schemeClr val="tx1"/>
                </a:solidFill>
              </a:rPr>
              <a:t>, </a:t>
            </a:r>
            <a:r>
              <a:rPr lang="es-ES" b="1" dirty="0">
                <a:solidFill>
                  <a:schemeClr val="tx1"/>
                </a:solidFill>
              </a:rPr>
              <a:t>seguridad</a:t>
            </a:r>
            <a:r>
              <a:rPr lang="es-ES" dirty="0">
                <a:solidFill>
                  <a:schemeClr val="tx1"/>
                </a:solidFill>
              </a:rPr>
              <a:t> y </a:t>
            </a:r>
            <a:r>
              <a:rPr lang="es-ES" b="1" dirty="0">
                <a:solidFill>
                  <a:schemeClr val="tx1"/>
                </a:solidFill>
              </a:rPr>
              <a:t>trazabilidad</a:t>
            </a:r>
            <a:r>
              <a:rPr lang="es-ES" dirty="0">
                <a:solidFill>
                  <a:schemeClr val="tx1"/>
                </a:solidFill>
              </a:rPr>
              <a:t>.</a:t>
            </a:r>
            <a:endParaRPr lang="es-PE" dirty="0">
              <a:solidFill>
                <a:schemeClr val="tx1"/>
              </a:solidFill>
            </a:endParaRPr>
          </a:p>
        </p:txBody>
      </p:sp>
      <p:sp>
        <p:nvSpPr>
          <p:cNvPr id="9" name="Rectángulo: esquinas redondeadas 8">
            <a:extLst>
              <a:ext uri="{FF2B5EF4-FFF2-40B4-BE49-F238E27FC236}">
                <a16:creationId xmlns:a16="http://schemas.microsoft.com/office/drawing/2014/main" id="{826B905F-FA1C-9CB1-43C3-2468EA445768}"/>
              </a:ext>
            </a:extLst>
          </p:cNvPr>
          <p:cNvSpPr/>
          <p:nvPr/>
        </p:nvSpPr>
        <p:spPr>
          <a:xfrm>
            <a:off x="645572" y="841750"/>
            <a:ext cx="4162926" cy="518288"/>
          </a:xfrm>
          <a:prstGeom prst="roundRect">
            <a:avLst>
              <a:gd name="adj" fmla="val 4899"/>
            </a:avLst>
          </a:prstGeom>
          <a:solidFill>
            <a:schemeClr val="bg1"/>
          </a:solidFill>
          <a:ln>
            <a:solidFill>
              <a:srgbClr val="00999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0" name="Rectángulo: esquinas redondeadas 9">
            <a:extLst>
              <a:ext uri="{FF2B5EF4-FFF2-40B4-BE49-F238E27FC236}">
                <a16:creationId xmlns:a16="http://schemas.microsoft.com/office/drawing/2014/main" id="{630FC802-AF31-AA2A-7134-8DF388C8E641}"/>
              </a:ext>
            </a:extLst>
          </p:cNvPr>
          <p:cNvSpPr/>
          <p:nvPr/>
        </p:nvSpPr>
        <p:spPr>
          <a:xfrm>
            <a:off x="865884" y="1021257"/>
            <a:ext cx="4162926" cy="473058"/>
          </a:xfrm>
          <a:prstGeom prst="roundRect">
            <a:avLst>
              <a:gd name="adj" fmla="val 4899"/>
            </a:avLst>
          </a:prstGeom>
          <a:solidFill>
            <a:srgbClr val="00999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2000" b="1" dirty="0"/>
              <a:t>CONTEXTO</a:t>
            </a:r>
            <a:endParaRPr lang="es-PE" sz="2000" b="1" dirty="0"/>
          </a:p>
        </p:txBody>
      </p:sp>
      <p:sp>
        <p:nvSpPr>
          <p:cNvPr id="11" name="Rectángulo: esquinas redondeadas 10">
            <a:extLst>
              <a:ext uri="{FF2B5EF4-FFF2-40B4-BE49-F238E27FC236}">
                <a16:creationId xmlns:a16="http://schemas.microsoft.com/office/drawing/2014/main" id="{00AC9DA9-1B6E-5B76-6107-C52022E3711D}"/>
              </a:ext>
            </a:extLst>
          </p:cNvPr>
          <p:cNvSpPr/>
          <p:nvPr/>
        </p:nvSpPr>
        <p:spPr>
          <a:xfrm>
            <a:off x="6137668" y="1607033"/>
            <a:ext cx="4162926" cy="2040853"/>
          </a:xfrm>
          <a:prstGeom prst="roundRect">
            <a:avLst>
              <a:gd name="adj" fmla="val 4899"/>
            </a:avLst>
          </a:prstGeom>
          <a:solidFill>
            <a:srgbClr val="00999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2" name="Rectángulo: esquinas redondeadas 11">
            <a:extLst>
              <a:ext uri="{FF2B5EF4-FFF2-40B4-BE49-F238E27FC236}">
                <a16:creationId xmlns:a16="http://schemas.microsoft.com/office/drawing/2014/main" id="{DD6E427C-1C51-DAD3-4F8A-6E359AE9D162}"/>
              </a:ext>
            </a:extLst>
          </p:cNvPr>
          <p:cNvSpPr/>
          <p:nvPr/>
        </p:nvSpPr>
        <p:spPr>
          <a:xfrm>
            <a:off x="6357980" y="1775445"/>
            <a:ext cx="4162926" cy="2040853"/>
          </a:xfrm>
          <a:prstGeom prst="roundRect">
            <a:avLst>
              <a:gd name="adj" fmla="val 4899"/>
            </a:avLst>
          </a:prstGeom>
          <a:solidFill>
            <a:schemeClr val="bg1"/>
          </a:solidFill>
          <a:ln>
            <a:solidFill>
              <a:srgbClr val="00999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s-ES" dirty="0">
                <a:solidFill>
                  <a:schemeClr val="tx1"/>
                </a:solidFill>
              </a:rPr>
              <a:t>Establecer lineamientos corporativos para la nueva arquitectura analítica</a:t>
            </a:r>
          </a:p>
          <a:p>
            <a:r>
              <a:rPr lang="es-ES" dirty="0">
                <a:solidFill>
                  <a:schemeClr val="tx1"/>
                </a:solidFill>
              </a:rPr>
              <a:t>• Garantizar que los datos sean:</a:t>
            </a:r>
          </a:p>
          <a:p>
            <a:r>
              <a:rPr lang="es-ES" dirty="0">
                <a:solidFill>
                  <a:schemeClr val="tx1"/>
                </a:solidFill>
              </a:rPr>
              <a:t>   ✅ Confiables</a:t>
            </a:r>
          </a:p>
          <a:p>
            <a:r>
              <a:rPr lang="es-ES" dirty="0">
                <a:solidFill>
                  <a:schemeClr val="tx1"/>
                </a:solidFill>
              </a:rPr>
              <a:t>   ✅ Seguros</a:t>
            </a:r>
          </a:p>
          <a:p>
            <a:r>
              <a:rPr lang="es-ES" dirty="0">
                <a:solidFill>
                  <a:schemeClr val="tx1"/>
                </a:solidFill>
              </a:rPr>
              <a:t>   ✅ Trazables</a:t>
            </a:r>
          </a:p>
          <a:p>
            <a:r>
              <a:rPr lang="es-ES" dirty="0">
                <a:solidFill>
                  <a:schemeClr val="tx1"/>
                </a:solidFill>
              </a:rPr>
              <a:t>   ✅ Gobernados</a:t>
            </a:r>
          </a:p>
        </p:txBody>
      </p:sp>
      <p:sp>
        <p:nvSpPr>
          <p:cNvPr id="14" name="Rectángulo: esquinas redondeadas 13">
            <a:extLst>
              <a:ext uri="{FF2B5EF4-FFF2-40B4-BE49-F238E27FC236}">
                <a16:creationId xmlns:a16="http://schemas.microsoft.com/office/drawing/2014/main" id="{BDFBC79B-991A-8272-41BE-68FA44D280C9}"/>
              </a:ext>
            </a:extLst>
          </p:cNvPr>
          <p:cNvSpPr/>
          <p:nvPr/>
        </p:nvSpPr>
        <p:spPr>
          <a:xfrm>
            <a:off x="6137668" y="841750"/>
            <a:ext cx="4162926" cy="518289"/>
          </a:xfrm>
          <a:prstGeom prst="roundRect">
            <a:avLst>
              <a:gd name="adj" fmla="val 4899"/>
            </a:avLst>
          </a:prstGeom>
          <a:solidFill>
            <a:schemeClr val="bg1"/>
          </a:solidFill>
          <a:ln>
            <a:solidFill>
              <a:srgbClr val="00999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5" name="Rectángulo: esquinas redondeadas 14">
            <a:extLst>
              <a:ext uri="{FF2B5EF4-FFF2-40B4-BE49-F238E27FC236}">
                <a16:creationId xmlns:a16="http://schemas.microsoft.com/office/drawing/2014/main" id="{FA5CA6E2-0931-39D8-95F1-AA846E59F991}"/>
              </a:ext>
            </a:extLst>
          </p:cNvPr>
          <p:cNvSpPr/>
          <p:nvPr/>
        </p:nvSpPr>
        <p:spPr>
          <a:xfrm>
            <a:off x="6357980" y="1021256"/>
            <a:ext cx="4162926" cy="473058"/>
          </a:xfrm>
          <a:prstGeom prst="roundRect">
            <a:avLst>
              <a:gd name="adj" fmla="val 4899"/>
            </a:avLst>
          </a:prstGeom>
          <a:solidFill>
            <a:srgbClr val="00999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2000" b="1" dirty="0"/>
              <a:t>OBJETIVOS</a:t>
            </a:r>
            <a:endParaRPr lang="es-PE" sz="2000" b="1" dirty="0"/>
          </a:p>
        </p:txBody>
      </p:sp>
      <p:sp>
        <p:nvSpPr>
          <p:cNvPr id="16" name="Rectángulo: esquinas redondeadas 15">
            <a:extLst>
              <a:ext uri="{FF2B5EF4-FFF2-40B4-BE49-F238E27FC236}">
                <a16:creationId xmlns:a16="http://schemas.microsoft.com/office/drawing/2014/main" id="{7B4CD5F4-8BF1-D316-0B02-E80D32192A46}"/>
              </a:ext>
            </a:extLst>
          </p:cNvPr>
          <p:cNvSpPr/>
          <p:nvPr/>
        </p:nvSpPr>
        <p:spPr>
          <a:xfrm>
            <a:off x="598598" y="4949689"/>
            <a:ext cx="4162926" cy="1688798"/>
          </a:xfrm>
          <a:prstGeom prst="roundRect">
            <a:avLst>
              <a:gd name="adj" fmla="val 4899"/>
            </a:avLst>
          </a:prstGeom>
          <a:solidFill>
            <a:srgbClr val="00999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7" name="Rectángulo: esquinas redondeadas 16">
            <a:extLst>
              <a:ext uri="{FF2B5EF4-FFF2-40B4-BE49-F238E27FC236}">
                <a16:creationId xmlns:a16="http://schemas.microsoft.com/office/drawing/2014/main" id="{D2273B7F-7FD3-9F8B-0D46-770E557623F2}"/>
              </a:ext>
            </a:extLst>
          </p:cNvPr>
          <p:cNvSpPr/>
          <p:nvPr/>
        </p:nvSpPr>
        <p:spPr>
          <a:xfrm>
            <a:off x="818910" y="5118100"/>
            <a:ext cx="4162926" cy="1688798"/>
          </a:xfrm>
          <a:prstGeom prst="roundRect">
            <a:avLst>
              <a:gd name="adj" fmla="val 4899"/>
            </a:avLst>
          </a:prstGeom>
          <a:solidFill>
            <a:schemeClr val="bg1"/>
          </a:solidFill>
          <a:ln>
            <a:solidFill>
              <a:srgbClr val="00999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lgn="just">
              <a:buFont typeface="Arial" panose="020B0604020202020204" pitchFamily="34" charset="0"/>
              <a:buChar char="•"/>
            </a:pPr>
            <a:r>
              <a:rPr lang="es-ES" dirty="0">
                <a:solidFill>
                  <a:schemeClr val="tx1"/>
                </a:solidFill>
              </a:rPr>
              <a:t>Arquitectura escalable y flexible</a:t>
            </a:r>
          </a:p>
          <a:p>
            <a:pPr marL="285750" indent="-285750" algn="just">
              <a:buFont typeface="Arial" panose="020B0604020202020204" pitchFamily="34" charset="0"/>
              <a:buChar char="•"/>
            </a:pPr>
            <a:r>
              <a:rPr lang="es-ES" dirty="0">
                <a:solidFill>
                  <a:schemeClr val="tx1"/>
                </a:solidFill>
              </a:rPr>
              <a:t>Estandarización</a:t>
            </a:r>
          </a:p>
          <a:p>
            <a:pPr marL="285750" indent="-285750" algn="just">
              <a:buFont typeface="Arial" panose="020B0604020202020204" pitchFamily="34" charset="0"/>
              <a:buChar char="•"/>
            </a:pPr>
            <a:r>
              <a:rPr lang="es-PE" dirty="0">
                <a:solidFill>
                  <a:schemeClr val="tx1"/>
                </a:solidFill>
              </a:rPr>
              <a:t>Soluciones con calidad </a:t>
            </a:r>
            <a:endParaRPr lang="es-ES" dirty="0">
              <a:solidFill>
                <a:schemeClr val="tx1"/>
              </a:solidFill>
            </a:endParaRPr>
          </a:p>
        </p:txBody>
      </p:sp>
      <p:sp>
        <p:nvSpPr>
          <p:cNvPr id="18" name="Rectángulo: esquinas redondeadas 17">
            <a:extLst>
              <a:ext uri="{FF2B5EF4-FFF2-40B4-BE49-F238E27FC236}">
                <a16:creationId xmlns:a16="http://schemas.microsoft.com/office/drawing/2014/main" id="{20E661E0-42DC-20B5-4C97-4AA4921A9B21}"/>
              </a:ext>
            </a:extLst>
          </p:cNvPr>
          <p:cNvSpPr/>
          <p:nvPr/>
        </p:nvSpPr>
        <p:spPr>
          <a:xfrm>
            <a:off x="598598" y="4097428"/>
            <a:ext cx="4162926" cy="600875"/>
          </a:xfrm>
          <a:prstGeom prst="roundRect">
            <a:avLst>
              <a:gd name="adj" fmla="val 4899"/>
            </a:avLst>
          </a:prstGeom>
          <a:solidFill>
            <a:schemeClr val="bg1"/>
          </a:solidFill>
          <a:ln>
            <a:solidFill>
              <a:srgbClr val="00999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9" name="Rectángulo: esquinas redondeadas 18">
            <a:extLst>
              <a:ext uri="{FF2B5EF4-FFF2-40B4-BE49-F238E27FC236}">
                <a16:creationId xmlns:a16="http://schemas.microsoft.com/office/drawing/2014/main" id="{ED6309D7-E460-161F-CFF0-A62341E4014D}"/>
              </a:ext>
            </a:extLst>
          </p:cNvPr>
          <p:cNvSpPr/>
          <p:nvPr/>
        </p:nvSpPr>
        <p:spPr>
          <a:xfrm>
            <a:off x="818910" y="4276934"/>
            <a:ext cx="4162926" cy="548437"/>
          </a:xfrm>
          <a:prstGeom prst="roundRect">
            <a:avLst>
              <a:gd name="adj" fmla="val 4899"/>
            </a:avLst>
          </a:prstGeom>
          <a:solidFill>
            <a:srgbClr val="00999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2000" b="1" dirty="0"/>
              <a:t>PRINCIPIOS FUNDAMENTALES</a:t>
            </a:r>
            <a:endParaRPr lang="es-PE" sz="2000" b="1" dirty="0"/>
          </a:p>
        </p:txBody>
      </p:sp>
      <p:sp>
        <p:nvSpPr>
          <p:cNvPr id="20" name="Rectángulo: esquinas redondeadas 19">
            <a:extLst>
              <a:ext uri="{FF2B5EF4-FFF2-40B4-BE49-F238E27FC236}">
                <a16:creationId xmlns:a16="http://schemas.microsoft.com/office/drawing/2014/main" id="{6373E708-4695-78A1-0781-3BC6B6261367}"/>
              </a:ext>
            </a:extLst>
          </p:cNvPr>
          <p:cNvSpPr/>
          <p:nvPr/>
        </p:nvSpPr>
        <p:spPr>
          <a:xfrm>
            <a:off x="6125370" y="4949689"/>
            <a:ext cx="4162926" cy="1688798"/>
          </a:xfrm>
          <a:prstGeom prst="roundRect">
            <a:avLst>
              <a:gd name="adj" fmla="val 4899"/>
            </a:avLst>
          </a:prstGeom>
          <a:solidFill>
            <a:srgbClr val="00999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1" name="Rectángulo: esquinas redondeadas 20">
            <a:extLst>
              <a:ext uri="{FF2B5EF4-FFF2-40B4-BE49-F238E27FC236}">
                <a16:creationId xmlns:a16="http://schemas.microsoft.com/office/drawing/2014/main" id="{BA8D66D6-E0AF-4022-37C4-2B2604DAA369}"/>
              </a:ext>
            </a:extLst>
          </p:cNvPr>
          <p:cNvSpPr/>
          <p:nvPr/>
        </p:nvSpPr>
        <p:spPr>
          <a:xfrm>
            <a:off x="6345682" y="5118100"/>
            <a:ext cx="4162926" cy="1688798"/>
          </a:xfrm>
          <a:prstGeom prst="roundRect">
            <a:avLst>
              <a:gd name="adj" fmla="val 4899"/>
            </a:avLst>
          </a:prstGeom>
          <a:solidFill>
            <a:schemeClr val="bg1"/>
          </a:solidFill>
          <a:ln>
            <a:solidFill>
              <a:srgbClr val="00999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lgn="just">
              <a:buFont typeface="Arial" panose="020B0604020202020204" pitchFamily="34" charset="0"/>
              <a:buChar char="•"/>
            </a:pPr>
            <a:r>
              <a:rPr lang="es-ES" dirty="0" err="1">
                <a:solidFill>
                  <a:schemeClr val="tx1"/>
                </a:solidFill>
              </a:rPr>
              <a:t>Metadata</a:t>
            </a:r>
            <a:r>
              <a:rPr lang="es-ES" dirty="0">
                <a:solidFill>
                  <a:schemeClr val="tx1"/>
                </a:solidFill>
              </a:rPr>
              <a:t> </a:t>
            </a:r>
            <a:r>
              <a:rPr lang="es-ES" dirty="0" err="1">
                <a:solidFill>
                  <a:schemeClr val="tx1"/>
                </a:solidFill>
              </a:rPr>
              <a:t>Driven</a:t>
            </a:r>
            <a:endParaRPr lang="es-ES" dirty="0">
              <a:solidFill>
                <a:schemeClr val="tx1"/>
              </a:solidFill>
            </a:endParaRPr>
          </a:p>
          <a:p>
            <a:pPr marL="285750" indent="-285750" algn="just">
              <a:buFont typeface="Arial" panose="020B0604020202020204" pitchFamily="34" charset="0"/>
              <a:buChar char="•"/>
            </a:pPr>
            <a:r>
              <a:rPr lang="es-ES" dirty="0" err="1">
                <a:solidFill>
                  <a:schemeClr val="tx1"/>
                </a:solidFill>
              </a:rPr>
              <a:t>Datalake</a:t>
            </a:r>
            <a:endParaRPr lang="es-ES" dirty="0">
              <a:solidFill>
                <a:schemeClr val="tx1"/>
              </a:solidFill>
            </a:endParaRPr>
          </a:p>
          <a:p>
            <a:pPr marL="285750" indent="-285750" algn="just">
              <a:buFont typeface="Arial" panose="020B0604020202020204" pitchFamily="34" charset="0"/>
              <a:buChar char="•"/>
            </a:pPr>
            <a:r>
              <a:rPr lang="es-ES" dirty="0">
                <a:solidFill>
                  <a:schemeClr val="tx1"/>
                </a:solidFill>
              </a:rPr>
              <a:t>Unity </a:t>
            </a:r>
            <a:r>
              <a:rPr lang="es-ES" dirty="0" err="1">
                <a:solidFill>
                  <a:schemeClr val="tx1"/>
                </a:solidFill>
              </a:rPr>
              <a:t>Catalog</a:t>
            </a:r>
            <a:endParaRPr lang="es-ES" dirty="0">
              <a:solidFill>
                <a:schemeClr val="tx1"/>
              </a:solidFill>
            </a:endParaRPr>
          </a:p>
          <a:p>
            <a:pPr marL="285750" indent="-285750" algn="just">
              <a:buFont typeface="Arial" panose="020B0604020202020204" pitchFamily="34" charset="0"/>
              <a:buChar char="•"/>
            </a:pPr>
            <a:r>
              <a:rPr lang="es-ES" dirty="0">
                <a:solidFill>
                  <a:schemeClr val="tx1"/>
                </a:solidFill>
              </a:rPr>
              <a:t>Reglas de calidad</a:t>
            </a:r>
          </a:p>
        </p:txBody>
      </p:sp>
      <p:sp>
        <p:nvSpPr>
          <p:cNvPr id="22" name="Rectángulo: esquinas redondeadas 21">
            <a:extLst>
              <a:ext uri="{FF2B5EF4-FFF2-40B4-BE49-F238E27FC236}">
                <a16:creationId xmlns:a16="http://schemas.microsoft.com/office/drawing/2014/main" id="{A5C0A77A-0108-D69E-ED26-0C101E5EDBF0}"/>
              </a:ext>
            </a:extLst>
          </p:cNvPr>
          <p:cNvSpPr/>
          <p:nvPr/>
        </p:nvSpPr>
        <p:spPr>
          <a:xfrm>
            <a:off x="6125370" y="4097428"/>
            <a:ext cx="4162926" cy="548437"/>
          </a:xfrm>
          <a:prstGeom prst="roundRect">
            <a:avLst>
              <a:gd name="adj" fmla="val 4899"/>
            </a:avLst>
          </a:prstGeom>
          <a:solidFill>
            <a:schemeClr val="bg1"/>
          </a:solidFill>
          <a:ln>
            <a:solidFill>
              <a:srgbClr val="00999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3" name="Rectángulo: esquinas redondeadas 22">
            <a:extLst>
              <a:ext uri="{FF2B5EF4-FFF2-40B4-BE49-F238E27FC236}">
                <a16:creationId xmlns:a16="http://schemas.microsoft.com/office/drawing/2014/main" id="{C07267C3-1E59-F316-292E-9989FB3B4E2B}"/>
              </a:ext>
            </a:extLst>
          </p:cNvPr>
          <p:cNvSpPr/>
          <p:nvPr/>
        </p:nvSpPr>
        <p:spPr>
          <a:xfrm>
            <a:off x="6345682" y="4276934"/>
            <a:ext cx="4162926" cy="500575"/>
          </a:xfrm>
          <a:prstGeom prst="roundRect">
            <a:avLst>
              <a:gd name="adj" fmla="val 4899"/>
            </a:avLst>
          </a:prstGeom>
          <a:solidFill>
            <a:srgbClr val="00999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2000" b="1" dirty="0"/>
              <a:t>COMPONENTES CLAVE</a:t>
            </a:r>
            <a:endParaRPr lang="es-PE" sz="2000" b="1" dirty="0"/>
          </a:p>
        </p:txBody>
      </p:sp>
    </p:spTree>
    <p:extLst>
      <p:ext uri="{BB962C8B-B14F-4D97-AF65-F5344CB8AC3E}">
        <p14:creationId xmlns:p14="http://schemas.microsoft.com/office/powerpoint/2010/main" val="36892961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E7CFFF-02D2-6101-4E73-FFEB61AFA7F1}"/>
            </a:ext>
          </a:extLst>
        </p:cNvPr>
        <p:cNvGrpSpPr/>
        <p:nvPr/>
      </p:nvGrpSpPr>
      <p:grpSpPr>
        <a:xfrm>
          <a:off x="0" y="0"/>
          <a:ext cx="0" cy="0"/>
          <a:chOff x="0" y="0"/>
          <a:chExt cx="0" cy="0"/>
        </a:xfrm>
      </p:grpSpPr>
      <p:sp>
        <p:nvSpPr>
          <p:cNvPr id="12" name="Flecha: cheurón 11">
            <a:extLst>
              <a:ext uri="{FF2B5EF4-FFF2-40B4-BE49-F238E27FC236}">
                <a16:creationId xmlns:a16="http://schemas.microsoft.com/office/drawing/2014/main" id="{688BAD13-93A0-8366-DE81-7D7EEB285DDD}"/>
              </a:ext>
            </a:extLst>
          </p:cNvPr>
          <p:cNvSpPr/>
          <p:nvPr/>
        </p:nvSpPr>
        <p:spPr>
          <a:xfrm rot="4173570" flipH="1">
            <a:off x="1178137" y="2358311"/>
            <a:ext cx="649514" cy="348977"/>
          </a:xfrm>
          <a:prstGeom prst="chevron">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sp>
        <p:nvSpPr>
          <p:cNvPr id="11" name="Flecha: cheurón 10">
            <a:extLst>
              <a:ext uri="{FF2B5EF4-FFF2-40B4-BE49-F238E27FC236}">
                <a16:creationId xmlns:a16="http://schemas.microsoft.com/office/drawing/2014/main" id="{93EDCA54-657E-6E40-87C9-5B4D3D8A2611}"/>
              </a:ext>
            </a:extLst>
          </p:cNvPr>
          <p:cNvSpPr/>
          <p:nvPr/>
        </p:nvSpPr>
        <p:spPr>
          <a:xfrm rot="17426430">
            <a:off x="785106" y="2328218"/>
            <a:ext cx="649514" cy="348977"/>
          </a:xfrm>
          <a:prstGeom prst="chevron">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graphicFrame>
        <p:nvGraphicFramePr>
          <p:cNvPr id="3" name="Objeto 2" hidden="1">
            <a:extLst>
              <a:ext uri="{FF2B5EF4-FFF2-40B4-BE49-F238E27FC236}">
                <a16:creationId xmlns:a16="http://schemas.microsoft.com/office/drawing/2014/main" id="{7E245658-D0D4-D4B7-5D35-766DABB873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to 2" hidden="1">
                        <a:extLst>
                          <a:ext uri="{FF2B5EF4-FFF2-40B4-BE49-F238E27FC236}">
                            <a16:creationId xmlns:a16="http://schemas.microsoft.com/office/drawing/2014/main" id="{81FE1F69-22C1-6E7D-7CAC-F0C15755F7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AAAFD0A5-FD64-D37C-617B-65C94115823D}"/>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28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sym typeface="Calibri" panose="020F0502020204030204" pitchFamily="34" charset="0"/>
            </a:endParaRPr>
          </a:p>
        </p:txBody>
      </p:sp>
      <p:pic>
        <p:nvPicPr>
          <p:cNvPr id="38" name="Imagen 37" descr="Imagen que contiene Logotipo&#10;&#10;Descripción generada automáticamente">
            <a:extLst>
              <a:ext uri="{FF2B5EF4-FFF2-40B4-BE49-F238E27FC236}">
                <a16:creationId xmlns:a16="http://schemas.microsoft.com/office/drawing/2014/main" id="{3CCBD4C0-B09F-5B78-2FFB-31869680192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7110930" cy="1060175"/>
          </a:xfrm>
          <a:prstGeom prst="rect">
            <a:avLst/>
          </a:prstGeom>
        </p:spPr>
      </p:pic>
      <p:pic>
        <p:nvPicPr>
          <p:cNvPr id="6" name="Imagen 5" descr="Logotipo&#10;&#10;Descripción generada automáticamente">
            <a:extLst>
              <a:ext uri="{FF2B5EF4-FFF2-40B4-BE49-F238E27FC236}">
                <a16:creationId xmlns:a16="http://schemas.microsoft.com/office/drawing/2014/main" id="{C6A598A3-8995-68D4-1579-0A8554175B0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29800" y="530086"/>
            <a:ext cx="1905000" cy="698500"/>
          </a:xfrm>
          <a:prstGeom prst="rect">
            <a:avLst/>
          </a:prstGeom>
        </p:spPr>
      </p:pic>
      <p:sp>
        <p:nvSpPr>
          <p:cNvPr id="13" name="CuadroTexto 12">
            <a:extLst>
              <a:ext uri="{FF2B5EF4-FFF2-40B4-BE49-F238E27FC236}">
                <a16:creationId xmlns:a16="http://schemas.microsoft.com/office/drawing/2014/main" id="{4A955C39-7910-91C5-F38C-A35F558945A4}"/>
              </a:ext>
            </a:extLst>
          </p:cNvPr>
          <p:cNvSpPr txBox="1"/>
          <p:nvPr/>
        </p:nvSpPr>
        <p:spPr>
          <a:xfrm>
            <a:off x="1126673" y="587117"/>
            <a:ext cx="10503091" cy="473058"/>
          </a:xfrm>
          <a:prstGeom prst="rect">
            <a:avLst/>
          </a:prstGeom>
        </p:spPr>
        <p:txBody>
          <a:bodyPr vert="horz" lIns="121920" tIns="60960" rIns="121920" bIns="60960" rtlCol="0" anchor="ctr">
            <a:noAutofit/>
          </a:bodyPr>
          <a:lstStyle/>
          <a:p>
            <a:pPr>
              <a:spcBef>
                <a:spcPct val="20000"/>
              </a:spcBef>
            </a:pPr>
            <a:r>
              <a:rPr lang="es-PE" sz="2800" b="1" noProof="0" dirty="0">
                <a:solidFill>
                  <a:srgbClr val="3FA7A7"/>
                </a:solidFill>
                <a:latin typeface="Source Sans Pro" panose="020B0503030403020204" pitchFamily="34" charset="0"/>
                <a:ea typeface="Source Sans Pro" panose="020B0503030403020204" pitchFamily="34" charset="0"/>
                <a:cs typeface="Open Sans"/>
              </a:rPr>
              <a:t>Beneficios </a:t>
            </a:r>
            <a:endParaRPr lang="es-PE" sz="2800" b="1" noProof="0" dirty="0">
              <a:solidFill>
                <a:srgbClr val="3FA7A7"/>
              </a:solidFill>
              <a:latin typeface="Source Sans Pro" panose="020B0503030403020204" pitchFamily="34" charset="0"/>
              <a:ea typeface="Source Sans Pro" panose="020B0503030403020204" pitchFamily="34" charset="0"/>
              <a:cs typeface="Open Sans" panose="020B0606030504020204" pitchFamily="34" charset="0"/>
            </a:endParaRPr>
          </a:p>
        </p:txBody>
      </p:sp>
      <p:pic>
        <p:nvPicPr>
          <p:cNvPr id="2" name="Imagen 1" descr="Imagen que contiene Logotipo&#10;&#10;Descripción generada automáticamente">
            <a:extLst>
              <a:ext uri="{FF2B5EF4-FFF2-40B4-BE49-F238E27FC236}">
                <a16:creationId xmlns:a16="http://schemas.microsoft.com/office/drawing/2014/main" id="{A9768A7F-E0F9-724F-1EB4-0AE8A78599B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10800000">
            <a:off x="5081070" y="5797825"/>
            <a:ext cx="7110930" cy="1060175"/>
          </a:xfrm>
          <a:prstGeom prst="rect">
            <a:avLst/>
          </a:prstGeom>
        </p:spPr>
      </p:pic>
      <p:sp>
        <p:nvSpPr>
          <p:cNvPr id="7" name="Elipse 6">
            <a:extLst>
              <a:ext uri="{FF2B5EF4-FFF2-40B4-BE49-F238E27FC236}">
                <a16:creationId xmlns:a16="http://schemas.microsoft.com/office/drawing/2014/main" id="{561FFB7E-EEB5-C718-1EEC-19CCF9937C88}"/>
              </a:ext>
            </a:extLst>
          </p:cNvPr>
          <p:cNvSpPr/>
          <p:nvPr/>
        </p:nvSpPr>
        <p:spPr>
          <a:xfrm>
            <a:off x="847273" y="1647292"/>
            <a:ext cx="867227" cy="812800"/>
          </a:xfrm>
          <a:prstGeom prst="ellipse">
            <a:avLst/>
          </a:prstGeom>
          <a:solidFill>
            <a:srgbClr val="FF5324"/>
          </a:solidFill>
          <a:ln>
            <a:solidFill>
              <a:srgbClr val="FF532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8" name="Elipse 7">
            <a:extLst>
              <a:ext uri="{FF2B5EF4-FFF2-40B4-BE49-F238E27FC236}">
                <a16:creationId xmlns:a16="http://schemas.microsoft.com/office/drawing/2014/main" id="{668D7051-E618-1961-7284-756D4858F6B3}"/>
              </a:ext>
            </a:extLst>
          </p:cNvPr>
          <p:cNvSpPr/>
          <p:nvPr/>
        </p:nvSpPr>
        <p:spPr>
          <a:xfrm>
            <a:off x="963386" y="1766362"/>
            <a:ext cx="649514" cy="579429"/>
          </a:xfrm>
          <a:prstGeom prst="ellipse">
            <a:avLst/>
          </a:prstGeom>
          <a:solidFill>
            <a:srgbClr val="0099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b="1" dirty="0"/>
              <a:t>1</a:t>
            </a:r>
            <a:endParaRPr lang="es-PE" b="1" dirty="0"/>
          </a:p>
        </p:txBody>
      </p:sp>
      <p:sp>
        <p:nvSpPr>
          <p:cNvPr id="14" name="Flecha: cheurón 13">
            <a:extLst>
              <a:ext uri="{FF2B5EF4-FFF2-40B4-BE49-F238E27FC236}">
                <a16:creationId xmlns:a16="http://schemas.microsoft.com/office/drawing/2014/main" id="{B3C3FB7F-97AF-13F3-9FE1-DC787729B24C}"/>
              </a:ext>
            </a:extLst>
          </p:cNvPr>
          <p:cNvSpPr/>
          <p:nvPr/>
        </p:nvSpPr>
        <p:spPr>
          <a:xfrm rot="4173570" flipH="1">
            <a:off x="1178137" y="3946362"/>
            <a:ext cx="649514" cy="348977"/>
          </a:xfrm>
          <a:prstGeom prst="chevron">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sp>
        <p:nvSpPr>
          <p:cNvPr id="15" name="Flecha: cheurón 14">
            <a:extLst>
              <a:ext uri="{FF2B5EF4-FFF2-40B4-BE49-F238E27FC236}">
                <a16:creationId xmlns:a16="http://schemas.microsoft.com/office/drawing/2014/main" id="{F2B82C93-4339-2571-E9E2-4A7BB1A1B372}"/>
              </a:ext>
            </a:extLst>
          </p:cNvPr>
          <p:cNvSpPr/>
          <p:nvPr/>
        </p:nvSpPr>
        <p:spPr>
          <a:xfrm rot="17426430">
            <a:off x="785106" y="3916269"/>
            <a:ext cx="649514" cy="348977"/>
          </a:xfrm>
          <a:prstGeom prst="chevron">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sp>
        <p:nvSpPr>
          <p:cNvPr id="16" name="Elipse 15">
            <a:extLst>
              <a:ext uri="{FF2B5EF4-FFF2-40B4-BE49-F238E27FC236}">
                <a16:creationId xmlns:a16="http://schemas.microsoft.com/office/drawing/2014/main" id="{10F5CF29-6E2F-C611-D8B9-019E3633CEE9}"/>
              </a:ext>
            </a:extLst>
          </p:cNvPr>
          <p:cNvSpPr/>
          <p:nvPr/>
        </p:nvSpPr>
        <p:spPr>
          <a:xfrm>
            <a:off x="847273" y="3235343"/>
            <a:ext cx="867227" cy="812800"/>
          </a:xfrm>
          <a:prstGeom prst="ellipse">
            <a:avLst/>
          </a:prstGeom>
          <a:solidFill>
            <a:srgbClr val="FF5324"/>
          </a:solidFill>
          <a:ln>
            <a:solidFill>
              <a:srgbClr val="FF532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7" name="Elipse 16">
            <a:extLst>
              <a:ext uri="{FF2B5EF4-FFF2-40B4-BE49-F238E27FC236}">
                <a16:creationId xmlns:a16="http://schemas.microsoft.com/office/drawing/2014/main" id="{DE9742C0-50A1-CFF4-0722-7253984397B9}"/>
              </a:ext>
            </a:extLst>
          </p:cNvPr>
          <p:cNvSpPr/>
          <p:nvPr/>
        </p:nvSpPr>
        <p:spPr>
          <a:xfrm>
            <a:off x="963386" y="3354413"/>
            <a:ext cx="649514" cy="579429"/>
          </a:xfrm>
          <a:prstGeom prst="ellipse">
            <a:avLst/>
          </a:prstGeom>
          <a:solidFill>
            <a:srgbClr val="0099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b="1" dirty="0"/>
              <a:t>2</a:t>
            </a:r>
            <a:endParaRPr lang="es-PE" b="1" dirty="0"/>
          </a:p>
        </p:txBody>
      </p:sp>
      <p:sp>
        <p:nvSpPr>
          <p:cNvPr id="18" name="Flecha: cheurón 17">
            <a:extLst>
              <a:ext uri="{FF2B5EF4-FFF2-40B4-BE49-F238E27FC236}">
                <a16:creationId xmlns:a16="http://schemas.microsoft.com/office/drawing/2014/main" id="{9E27B633-85F9-0CE5-0D09-1D4F8C3ABE29}"/>
              </a:ext>
            </a:extLst>
          </p:cNvPr>
          <p:cNvSpPr/>
          <p:nvPr/>
        </p:nvSpPr>
        <p:spPr>
          <a:xfrm rot="4173570" flipH="1">
            <a:off x="1178137" y="5568214"/>
            <a:ext cx="649514" cy="348977"/>
          </a:xfrm>
          <a:prstGeom prst="chevron">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sp>
        <p:nvSpPr>
          <p:cNvPr id="19" name="Flecha: cheurón 18">
            <a:extLst>
              <a:ext uri="{FF2B5EF4-FFF2-40B4-BE49-F238E27FC236}">
                <a16:creationId xmlns:a16="http://schemas.microsoft.com/office/drawing/2014/main" id="{E8A61185-79E1-46F6-EF17-ACC216DAA0CA}"/>
              </a:ext>
            </a:extLst>
          </p:cNvPr>
          <p:cNvSpPr/>
          <p:nvPr/>
        </p:nvSpPr>
        <p:spPr>
          <a:xfrm rot="17426430">
            <a:off x="785106" y="5538121"/>
            <a:ext cx="649514" cy="348977"/>
          </a:xfrm>
          <a:prstGeom prst="chevron">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sp>
        <p:nvSpPr>
          <p:cNvPr id="20" name="Elipse 19">
            <a:extLst>
              <a:ext uri="{FF2B5EF4-FFF2-40B4-BE49-F238E27FC236}">
                <a16:creationId xmlns:a16="http://schemas.microsoft.com/office/drawing/2014/main" id="{F6E4EBB8-2D72-C2D3-22D7-9F7F4AD37D47}"/>
              </a:ext>
            </a:extLst>
          </p:cNvPr>
          <p:cNvSpPr/>
          <p:nvPr/>
        </p:nvSpPr>
        <p:spPr>
          <a:xfrm>
            <a:off x="847273" y="4857195"/>
            <a:ext cx="867227" cy="812800"/>
          </a:xfrm>
          <a:prstGeom prst="ellipse">
            <a:avLst/>
          </a:prstGeom>
          <a:solidFill>
            <a:srgbClr val="FF5324"/>
          </a:solidFill>
          <a:ln>
            <a:solidFill>
              <a:srgbClr val="FF532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1" name="Elipse 20">
            <a:extLst>
              <a:ext uri="{FF2B5EF4-FFF2-40B4-BE49-F238E27FC236}">
                <a16:creationId xmlns:a16="http://schemas.microsoft.com/office/drawing/2014/main" id="{CD82029F-2657-5236-1E91-006AC68FFB84}"/>
              </a:ext>
            </a:extLst>
          </p:cNvPr>
          <p:cNvSpPr/>
          <p:nvPr/>
        </p:nvSpPr>
        <p:spPr>
          <a:xfrm>
            <a:off x="963386" y="4976265"/>
            <a:ext cx="649514" cy="579429"/>
          </a:xfrm>
          <a:prstGeom prst="ellipse">
            <a:avLst/>
          </a:prstGeom>
          <a:solidFill>
            <a:srgbClr val="0099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b="1" dirty="0"/>
              <a:t>3</a:t>
            </a:r>
            <a:endParaRPr lang="es-PE" b="1" dirty="0"/>
          </a:p>
        </p:txBody>
      </p:sp>
      <p:sp>
        <p:nvSpPr>
          <p:cNvPr id="22" name="Pergamino: horizontal 21">
            <a:extLst>
              <a:ext uri="{FF2B5EF4-FFF2-40B4-BE49-F238E27FC236}">
                <a16:creationId xmlns:a16="http://schemas.microsoft.com/office/drawing/2014/main" id="{69FBA901-15EB-5D9D-5BF3-98E475618F39}"/>
              </a:ext>
            </a:extLst>
          </p:cNvPr>
          <p:cNvSpPr/>
          <p:nvPr/>
        </p:nvSpPr>
        <p:spPr>
          <a:xfrm>
            <a:off x="2287529" y="1597951"/>
            <a:ext cx="8420576" cy="1131684"/>
          </a:xfrm>
          <a:prstGeom prst="horizontalScroll">
            <a:avLst>
              <a:gd name="adj" fmla="val 12500"/>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s-PE"/>
          </a:p>
        </p:txBody>
      </p:sp>
      <p:sp>
        <p:nvSpPr>
          <p:cNvPr id="23" name="Pergamino: horizontal 22">
            <a:extLst>
              <a:ext uri="{FF2B5EF4-FFF2-40B4-BE49-F238E27FC236}">
                <a16:creationId xmlns:a16="http://schemas.microsoft.com/office/drawing/2014/main" id="{4EA5CBF2-3F09-6E9E-3150-B660D96BDDED}"/>
              </a:ext>
            </a:extLst>
          </p:cNvPr>
          <p:cNvSpPr/>
          <p:nvPr/>
        </p:nvSpPr>
        <p:spPr>
          <a:xfrm>
            <a:off x="2287529" y="3165092"/>
            <a:ext cx="8420576" cy="1131684"/>
          </a:xfrm>
          <a:prstGeom prst="horizontalScroll">
            <a:avLst>
              <a:gd name="adj" fmla="val 12500"/>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s-PE"/>
          </a:p>
        </p:txBody>
      </p:sp>
      <p:sp>
        <p:nvSpPr>
          <p:cNvPr id="24" name="Pergamino: horizontal 23">
            <a:extLst>
              <a:ext uri="{FF2B5EF4-FFF2-40B4-BE49-F238E27FC236}">
                <a16:creationId xmlns:a16="http://schemas.microsoft.com/office/drawing/2014/main" id="{F572CB05-8634-9B4C-2108-B3417CEC9586}"/>
              </a:ext>
            </a:extLst>
          </p:cNvPr>
          <p:cNvSpPr/>
          <p:nvPr/>
        </p:nvSpPr>
        <p:spPr>
          <a:xfrm>
            <a:off x="2287529" y="4811614"/>
            <a:ext cx="8420576" cy="1131684"/>
          </a:xfrm>
          <a:prstGeom prst="horizontalScroll">
            <a:avLst>
              <a:gd name="adj" fmla="val 12500"/>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s-ES" dirty="0"/>
          </a:p>
        </p:txBody>
      </p:sp>
      <p:sp>
        <p:nvSpPr>
          <p:cNvPr id="25" name="CuadroTexto 24">
            <a:extLst>
              <a:ext uri="{FF2B5EF4-FFF2-40B4-BE49-F238E27FC236}">
                <a16:creationId xmlns:a16="http://schemas.microsoft.com/office/drawing/2014/main" id="{9F76B760-F98C-1F8B-4997-52096BBB271F}"/>
              </a:ext>
            </a:extLst>
          </p:cNvPr>
          <p:cNvSpPr txBox="1"/>
          <p:nvPr/>
        </p:nvSpPr>
        <p:spPr>
          <a:xfrm>
            <a:off x="2598821" y="1905943"/>
            <a:ext cx="7772400" cy="461665"/>
          </a:xfrm>
          <a:prstGeom prst="rect">
            <a:avLst/>
          </a:prstGeom>
          <a:noFill/>
        </p:spPr>
        <p:txBody>
          <a:bodyPr wrap="square" rtlCol="0">
            <a:spAutoFit/>
          </a:bodyPr>
          <a:lstStyle/>
          <a:p>
            <a:r>
              <a:rPr lang="es-ES" sz="2400" dirty="0">
                <a:solidFill>
                  <a:srgbClr val="002060"/>
                </a:solidFill>
              </a:rPr>
              <a:t>Mejores decisiones: datos confiables y consistentes </a:t>
            </a:r>
            <a:endParaRPr lang="es-PE" sz="2400" dirty="0">
              <a:solidFill>
                <a:srgbClr val="002060"/>
              </a:solidFill>
            </a:endParaRPr>
          </a:p>
        </p:txBody>
      </p:sp>
      <p:sp>
        <p:nvSpPr>
          <p:cNvPr id="26" name="CuadroTexto 25">
            <a:extLst>
              <a:ext uri="{FF2B5EF4-FFF2-40B4-BE49-F238E27FC236}">
                <a16:creationId xmlns:a16="http://schemas.microsoft.com/office/drawing/2014/main" id="{ACA4FAB6-F5BF-9200-87B0-AEE7DA6FA01A}"/>
              </a:ext>
            </a:extLst>
          </p:cNvPr>
          <p:cNvSpPr txBox="1"/>
          <p:nvPr/>
        </p:nvSpPr>
        <p:spPr>
          <a:xfrm>
            <a:off x="2598820" y="3493994"/>
            <a:ext cx="7999225" cy="461665"/>
          </a:xfrm>
          <a:prstGeom prst="rect">
            <a:avLst/>
          </a:prstGeom>
          <a:noFill/>
        </p:spPr>
        <p:txBody>
          <a:bodyPr wrap="square" rtlCol="0">
            <a:spAutoFit/>
          </a:bodyPr>
          <a:lstStyle/>
          <a:p>
            <a:r>
              <a:rPr lang="es-ES" sz="2400" dirty="0">
                <a:solidFill>
                  <a:srgbClr val="002060"/>
                </a:solidFill>
              </a:rPr>
              <a:t>Eficiencia operativa: procesos reproducibles y escalables</a:t>
            </a:r>
            <a:endParaRPr lang="es-PE" sz="2400" dirty="0">
              <a:solidFill>
                <a:srgbClr val="002060"/>
              </a:solidFill>
            </a:endParaRPr>
          </a:p>
        </p:txBody>
      </p:sp>
      <p:sp>
        <p:nvSpPr>
          <p:cNvPr id="28" name="CuadroTexto 27">
            <a:extLst>
              <a:ext uri="{FF2B5EF4-FFF2-40B4-BE49-F238E27FC236}">
                <a16:creationId xmlns:a16="http://schemas.microsoft.com/office/drawing/2014/main" id="{FF8E84F5-01DF-8C77-B8DB-E56FDF25BB05}"/>
              </a:ext>
            </a:extLst>
          </p:cNvPr>
          <p:cNvSpPr txBox="1"/>
          <p:nvPr/>
        </p:nvSpPr>
        <p:spPr>
          <a:xfrm>
            <a:off x="2598820" y="5138567"/>
            <a:ext cx="7999225" cy="461665"/>
          </a:xfrm>
          <a:prstGeom prst="rect">
            <a:avLst/>
          </a:prstGeom>
          <a:noFill/>
        </p:spPr>
        <p:txBody>
          <a:bodyPr wrap="square" rtlCol="0">
            <a:spAutoFit/>
          </a:bodyPr>
          <a:lstStyle/>
          <a:p>
            <a:r>
              <a:rPr lang="es-ES" sz="2400" dirty="0">
                <a:solidFill>
                  <a:srgbClr val="002060"/>
                </a:solidFill>
              </a:rPr>
              <a:t>Seguridad: accesos controlados y auditables</a:t>
            </a:r>
            <a:endParaRPr lang="es-PE" sz="2400" dirty="0">
              <a:solidFill>
                <a:srgbClr val="002060"/>
              </a:solidFill>
            </a:endParaRPr>
          </a:p>
        </p:txBody>
      </p:sp>
    </p:spTree>
    <p:extLst>
      <p:ext uri="{BB962C8B-B14F-4D97-AF65-F5344CB8AC3E}">
        <p14:creationId xmlns:p14="http://schemas.microsoft.com/office/powerpoint/2010/main" val="40137551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4C7272-E931-5407-174B-7E4B866AC322}"/>
            </a:ext>
          </a:extLst>
        </p:cNvPr>
        <p:cNvGrpSpPr/>
        <p:nvPr/>
      </p:nvGrpSpPr>
      <p:grpSpPr>
        <a:xfrm>
          <a:off x="0" y="0"/>
          <a:ext cx="0" cy="0"/>
          <a:chOff x="0" y="0"/>
          <a:chExt cx="0" cy="0"/>
        </a:xfrm>
      </p:grpSpPr>
      <p:pic>
        <p:nvPicPr>
          <p:cNvPr id="38" name="Imagen 37" descr="Imagen que contiene Logotipo&#10;&#10;Descripción generada automáticamente">
            <a:extLst>
              <a:ext uri="{FF2B5EF4-FFF2-40B4-BE49-F238E27FC236}">
                <a16:creationId xmlns:a16="http://schemas.microsoft.com/office/drawing/2014/main" id="{8DEAFECA-E5A0-8DCD-A68E-4ED0ACAC7A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7110930" cy="1060175"/>
          </a:xfrm>
          <a:prstGeom prst="rect">
            <a:avLst/>
          </a:prstGeom>
        </p:spPr>
      </p:pic>
      <p:graphicFrame>
        <p:nvGraphicFramePr>
          <p:cNvPr id="3" name="Objeto 2" hidden="1">
            <a:extLst>
              <a:ext uri="{FF2B5EF4-FFF2-40B4-BE49-F238E27FC236}">
                <a16:creationId xmlns:a16="http://schemas.microsoft.com/office/drawing/2014/main" id="{05CC49BF-92FA-AD34-9ACB-DDD88A489D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3" name="Objeto 2" hidden="1">
                        <a:extLst>
                          <a:ext uri="{FF2B5EF4-FFF2-40B4-BE49-F238E27FC236}">
                            <a16:creationId xmlns:a16="http://schemas.microsoft.com/office/drawing/2014/main" id="{7E245658-D0D4-D4B7-5D35-766DABB8730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8A3C1C7B-5A52-60DF-D64E-6AD4D9A4E111}"/>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28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sym typeface="Calibri" panose="020F0502020204030204" pitchFamily="34" charset="0"/>
            </a:endParaRPr>
          </a:p>
        </p:txBody>
      </p:sp>
      <p:pic>
        <p:nvPicPr>
          <p:cNvPr id="6" name="Imagen 5" descr="Logotipo&#10;&#10;Descripción generada automáticamente">
            <a:extLst>
              <a:ext uri="{FF2B5EF4-FFF2-40B4-BE49-F238E27FC236}">
                <a16:creationId xmlns:a16="http://schemas.microsoft.com/office/drawing/2014/main" id="{F83CA32F-AEFB-876F-8848-DD6897C4CC4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89761" y="361675"/>
            <a:ext cx="1905000" cy="698500"/>
          </a:xfrm>
          <a:prstGeom prst="rect">
            <a:avLst/>
          </a:prstGeom>
        </p:spPr>
      </p:pic>
      <p:sp>
        <p:nvSpPr>
          <p:cNvPr id="13" name="CuadroTexto 12">
            <a:extLst>
              <a:ext uri="{FF2B5EF4-FFF2-40B4-BE49-F238E27FC236}">
                <a16:creationId xmlns:a16="http://schemas.microsoft.com/office/drawing/2014/main" id="{4553452D-499A-D333-D6F5-E6517684A42E}"/>
              </a:ext>
            </a:extLst>
          </p:cNvPr>
          <p:cNvSpPr txBox="1"/>
          <p:nvPr/>
        </p:nvSpPr>
        <p:spPr>
          <a:xfrm>
            <a:off x="1291670" y="587117"/>
            <a:ext cx="10503091" cy="473058"/>
          </a:xfrm>
          <a:prstGeom prst="rect">
            <a:avLst/>
          </a:prstGeom>
        </p:spPr>
        <p:txBody>
          <a:bodyPr vert="horz" lIns="121920" tIns="60960" rIns="121920" bIns="60960" rtlCol="0" anchor="ctr">
            <a:noAutofit/>
          </a:bodyPr>
          <a:lstStyle/>
          <a:p>
            <a:pPr>
              <a:spcBef>
                <a:spcPct val="20000"/>
              </a:spcBef>
            </a:pPr>
            <a:r>
              <a:rPr lang="es-PE" sz="2800" b="1" noProof="0" dirty="0">
                <a:solidFill>
                  <a:srgbClr val="3FA7A7"/>
                </a:solidFill>
                <a:latin typeface="Source Sans Pro" panose="020B0503030403020204" pitchFamily="34" charset="0"/>
                <a:ea typeface="Source Sans Pro" panose="020B0503030403020204" pitchFamily="34" charset="0"/>
                <a:cs typeface="Open Sans"/>
              </a:rPr>
              <a:t>Documentos Desarrollados</a:t>
            </a:r>
            <a:endParaRPr lang="es-PE" sz="2800" b="1" noProof="0" dirty="0">
              <a:solidFill>
                <a:srgbClr val="3FA7A7"/>
              </a:solidFill>
              <a:latin typeface="Source Sans Pro" panose="020B0503030403020204" pitchFamily="34" charset="0"/>
              <a:ea typeface="Source Sans Pro" panose="020B0503030403020204" pitchFamily="34" charset="0"/>
              <a:cs typeface="Open Sans" panose="020B0606030504020204" pitchFamily="34" charset="0"/>
            </a:endParaRPr>
          </a:p>
        </p:txBody>
      </p:sp>
      <p:graphicFrame>
        <p:nvGraphicFramePr>
          <p:cNvPr id="7" name="Tabla 6">
            <a:extLst>
              <a:ext uri="{FF2B5EF4-FFF2-40B4-BE49-F238E27FC236}">
                <a16:creationId xmlns:a16="http://schemas.microsoft.com/office/drawing/2014/main" id="{29AF5A99-2B4F-9954-34D7-33C097DCDABC}"/>
              </a:ext>
            </a:extLst>
          </p:cNvPr>
          <p:cNvGraphicFramePr>
            <a:graphicFrameLocks noGrp="1"/>
          </p:cNvGraphicFramePr>
          <p:nvPr>
            <p:extLst>
              <p:ext uri="{D42A27DB-BD31-4B8C-83A1-F6EECF244321}">
                <p14:modId xmlns:p14="http://schemas.microsoft.com/office/powerpoint/2010/main" val="50088527"/>
              </p:ext>
            </p:extLst>
          </p:nvPr>
        </p:nvGraphicFramePr>
        <p:xfrm>
          <a:off x="595661" y="1205104"/>
          <a:ext cx="11000677" cy="5435600"/>
        </p:xfrm>
        <a:graphic>
          <a:graphicData uri="http://schemas.openxmlformats.org/drawingml/2006/table">
            <a:tbl>
              <a:tblPr firstRow="1" bandRow="1">
                <a:tableStyleId>{5C22544A-7EE6-4342-B048-85BDC9FD1C3A}</a:tableStyleId>
              </a:tblPr>
              <a:tblGrid>
                <a:gridCol w="502440">
                  <a:extLst>
                    <a:ext uri="{9D8B030D-6E8A-4147-A177-3AD203B41FA5}">
                      <a16:colId xmlns:a16="http://schemas.microsoft.com/office/drawing/2014/main" val="3449822738"/>
                    </a:ext>
                  </a:extLst>
                </a:gridCol>
                <a:gridCol w="4556741">
                  <a:extLst>
                    <a:ext uri="{9D8B030D-6E8A-4147-A177-3AD203B41FA5}">
                      <a16:colId xmlns:a16="http://schemas.microsoft.com/office/drawing/2014/main" val="1185722081"/>
                    </a:ext>
                  </a:extLst>
                </a:gridCol>
                <a:gridCol w="5941496">
                  <a:extLst>
                    <a:ext uri="{9D8B030D-6E8A-4147-A177-3AD203B41FA5}">
                      <a16:colId xmlns:a16="http://schemas.microsoft.com/office/drawing/2014/main" val="2686305398"/>
                    </a:ext>
                  </a:extLst>
                </a:gridCol>
              </a:tblGrid>
              <a:tr h="0">
                <a:tc>
                  <a:txBody>
                    <a:bodyPr/>
                    <a:lstStyle/>
                    <a:p>
                      <a:pPr algn="ctr"/>
                      <a:r>
                        <a:rPr lang="es-ES" sz="1600" dirty="0" err="1"/>
                        <a:t>N°</a:t>
                      </a:r>
                      <a:endParaRPr lang="es-PE" sz="1600" dirty="0"/>
                    </a:p>
                  </a:txBody>
                  <a:tcPr>
                    <a:solidFill>
                      <a:srgbClr val="FF5324"/>
                    </a:solidFill>
                  </a:tcPr>
                </a:tc>
                <a:tc>
                  <a:txBody>
                    <a:bodyPr/>
                    <a:lstStyle/>
                    <a:p>
                      <a:pPr algn="ctr"/>
                      <a:r>
                        <a:rPr lang="es-ES" sz="1600" dirty="0"/>
                        <a:t>Documento</a:t>
                      </a:r>
                      <a:endParaRPr lang="es-PE" sz="1600" dirty="0"/>
                    </a:p>
                  </a:txBody>
                  <a:tcPr>
                    <a:solidFill>
                      <a:srgbClr val="FF5324"/>
                    </a:solidFill>
                  </a:tcPr>
                </a:tc>
                <a:tc>
                  <a:txBody>
                    <a:bodyPr/>
                    <a:lstStyle/>
                    <a:p>
                      <a:pPr algn="ctr"/>
                      <a:r>
                        <a:rPr lang="es-ES" sz="1600" dirty="0"/>
                        <a:t>Objetivo</a:t>
                      </a:r>
                      <a:endParaRPr lang="es-PE" sz="1600" dirty="0"/>
                    </a:p>
                  </a:txBody>
                  <a:tcPr>
                    <a:solidFill>
                      <a:srgbClr val="FF5324"/>
                    </a:solidFill>
                  </a:tcPr>
                </a:tc>
                <a:extLst>
                  <a:ext uri="{0D108BD9-81ED-4DB2-BD59-A6C34878D82A}">
                    <a16:rowId xmlns:a16="http://schemas.microsoft.com/office/drawing/2014/main" val="3965172044"/>
                  </a:ext>
                </a:extLst>
              </a:tr>
              <a:tr h="370840">
                <a:tc>
                  <a:txBody>
                    <a:bodyPr/>
                    <a:lstStyle/>
                    <a:p>
                      <a:r>
                        <a:rPr lang="es-ES" sz="1600" dirty="0"/>
                        <a:t>1</a:t>
                      </a:r>
                      <a:endParaRPr lang="es-PE" sz="1600" dirty="0"/>
                    </a:p>
                  </a:txBody>
                  <a:tcPr>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PE" sz="1600" dirty="0"/>
                        <a:t>Política Corporativa de Gobierno del Dato </a:t>
                      </a:r>
                    </a:p>
                  </a:txBody>
                  <a:tcPr>
                    <a:lnB w="12700" cap="flat" cmpd="sng" algn="ctr">
                      <a:solidFill>
                        <a:schemeClr val="tx1"/>
                      </a:solidFill>
                      <a:prstDash val="solid"/>
                      <a:round/>
                      <a:headEnd type="none" w="med" len="med"/>
                      <a:tailEnd type="none" w="med" len="med"/>
                    </a:lnB>
                    <a:noFill/>
                  </a:tcPr>
                </a:tc>
                <a:tc>
                  <a:txBody>
                    <a:bodyPr/>
                    <a:lstStyle/>
                    <a:p>
                      <a:r>
                        <a:rPr lang="es-ES" sz="1600" dirty="0"/>
                        <a:t>Definir un </a:t>
                      </a:r>
                      <a:r>
                        <a:rPr lang="es-ES" sz="1600" b="1" dirty="0"/>
                        <a:t>marco de trabajo </a:t>
                      </a:r>
                      <a:r>
                        <a:rPr lang="es-ES" sz="1600" dirty="0"/>
                        <a:t>basado en la </a:t>
                      </a:r>
                      <a:r>
                        <a:rPr lang="es-ES" sz="1600" b="1" dirty="0"/>
                        <a:t>gestión de los datos</a:t>
                      </a:r>
                      <a:endParaRPr lang="es-PE" sz="1600" b="1" dirty="0"/>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25407720"/>
                  </a:ext>
                </a:extLst>
              </a:tr>
              <a:tr h="370840">
                <a:tc>
                  <a:txBody>
                    <a:bodyPr/>
                    <a:lstStyle/>
                    <a:p>
                      <a:r>
                        <a:rPr lang="es-ES" sz="1600" dirty="0"/>
                        <a:t>2</a:t>
                      </a:r>
                      <a:endParaRPr lang="es-PE" sz="1600" dirty="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PE" sz="1600" dirty="0"/>
                        <a:t>Política Corporativa de Calidad de Datos</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s-ES" sz="1600" dirty="0"/>
                        <a:t>Definir </a:t>
                      </a:r>
                      <a:r>
                        <a:rPr lang="es-ES" sz="1600" b="1" dirty="0"/>
                        <a:t>lineamientos</a:t>
                      </a:r>
                      <a:r>
                        <a:rPr lang="es-ES" sz="1600" dirty="0"/>
                        <a:t> para garantizar la </a:t>
                      </a:r>
                      <a:r>
                        <a:rPr lang="es-ES" sz="1600" b="1" dirty="0"/>
                        <a:t>calidad</a:t>
                      </a:r>
                      <a:r>
                        <a:rPr lang="es-ES" sz="1600" dirty="0"/>
                        <a:t> en los </a:t>
                      </a:r>
                      <a:r>
                        <a:rPr lang="es-ES" sz="1600" b="1" dirty="0"/>
                        <a:t>datos corporativos</a:t>
                      </a:r>
                      <a:endParaRPr lang="es-PE" sz="16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71556302"/>
                  </a:ext>
                </a:extLst>
              </a:tr>
              <a:tr h="370840">
                <a:tc>
                  <a:txBody>
                    <a:bodyPr/>
                    <a:lstStyle/>
                    <a:p>
                      <a:r>
                        <a:rPr lang="es-ES" sz="1600" dirty="0"/>
                        <a:t>3</a:t>
                      </a:r>
                      <a:endParaRPr lang="es-PE" sz="1600" dirty="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PE" sz="1600" dirty="0"/>
                        <a:t>Política Corporativa de Seguridad de Datos</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s-ES" sz="1600" dirty="0"/>
                        <a:t>Garantizar la </a:t>
                      </a:r>
                      <a:r>
                        <a:rPr lang="es-ES" sz="1600" b="1" dirty="0"/>
                        <a:t>confidencialidad</a:t>
                      </a:r>
                      <a:r>
                        <a:rPr lang="es-ES" sz="1600" dirty="0"/>
                        <a:t> e </a:t>
                      </a:r>
                      <a:r>
                        <a:rPr lang="es-ES" sz="1600" b="1" dirty="0"/>
                        <a:t>integridad</a:t>
                      </a:r>
                      <a:r>
                        <a:rPr lang="es-ES" sz="1600" dirty="0"/>
                        <a:t> de los datos</a:t>
                      </a:r>
                      <a:endParaRPr lang="es-PE" sz="16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4159830"/>
                  </a:ext>
                </a:extLst>
              </a:tr>
              <a:tr h="370840">
                <a:tc>
                  <a:txBody>
                    <a:bodyPr/>
                    <a:lstStyle/>
                    <a:p>
                      <a:r>
                        <a:rPr lang="es-ES" sz="1600" dirty="0"/>
                        <a:t>4</a:t>
                      </a:r>
                      <a:endParaRPr lang="es-PE" sz="16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PE" sz="1600" dirty="0"/>
                        <a:t>Política Corporativa de Arquitectura y </a:t>
                      </a:r>
                      <a:r>
                        <a:rPr lang="es-PE" sz="1600" dirty="0" err="1"/>
                        <a:t>Metadata</a:t>
                      </a:r>
                      <a:r>
                        <a:rPr lang="es-PE" sz="1600" dirty="0"/>
                        <a:t> Analítica (</a:t>
                      </a:r>
                      <a:r>
                        <a:rPr lang="es-PE" sz="1600" dirty="0" err="1"/>
                        <a:t>Datalake</a:t>
                      </a:r>
                      <a:r>
                        <a:rPr lang="es-PE" sz="1600" dirty="0"/>
                        <a:t>, </a:t>
                      </a:r>
                      <a:r>
                        <a:rPr lang="es-PE" sz="1600" dirty="0" err="1"/>
                        <a:t>deltalake</a:t>
                      </a:r>
                      <a:r>
                        <a:rPr lang="es-PE" sz="1600" dirty="0"/>
                        <a:t>, </a:t>
                      </a:r>
                      <a:r>
                        <a:rPr lang="es-PE" sz="1600" dirty="0" err="1"/>
                        <a:t>UnityCatalog</a:t>
                      </a:r>
                      <a:r>
                        <a:rPr lang="es-PE" sz="1600" dirty="0"/>
                        <a:t>, </a:t>
                      </a:r>
                      <a:r>
                        <a:rPr lang="es-PE" sz="1600" dirty="0" err="1"/>
                        <a:t>Metadata</a:t>
                      </a:r>
                      <a:r>
                        <a:rPr lang="es-PE" sz="1600" dirty="0"/>
                        <a:t> </a:t>
                      </a:r>
                      <a:r>
                        <a:rPr lang="es-PE" sz="1600" dirty="0" err="1"/>
                        <a:t>driven</a:t>
                      </a:r>
                      <a:r>
                        <a:rPr lang="es-PE" sz="1600" dirty="0"/>
                        <a:t>)</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s-ES" sz="1600" dirty="0"/>
                        <a:t>Definir lineamientos para el </a:t>
                      </a:r>
                      <a:r>
                        <a:rPr lang="es-ES" sz="1600" b="1" dirty="0"/>
                        <a:t>diseño, gestión y control </a:t>
                      </a:r>
                      <a:r>
                        <a:rPr lang="es-ES" sz="1600" dirty="0"/>
                        <a:t>de la </a:t>
                      </a:r>
                      <a:r>
                        <a:rPr lang="es-ES" sz="1600" b="1" dirty="0"/>
                        <a:t>nueva arquitectura analítica.</a:t>
                      </a:r>
                      <a:endParaRPr lang="es-PE" sz="1600" b="1" dirty="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3128728"/>
                  </a:ext>
                </a:extLst>
              </a:tr>
              <a:tr h="370840">
                <a:tc>
                  <a:txBody>
                    <a:bodyPr/>
                    <a:lstStyle/>
                    <a:p>
                      <a:r>
                        <a:rPr lang="es-ES" sz="1600" dirty="0"/>
                        <a:t>5</a:t>
                      </a:r>
                      <a:endParaRPr lang="es-PE" sz="1600" dirty="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PE" sz="1600" dirty="0"/>
                        <a:t>Procedimiento Corporativo de Calidad de Datos</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s-ES" sz="1600" dirty="0"/>
                        <a:t>Establecer las </a:t>
                      </a:r>
                      <a:r>
                        <a:rPr lang="es-ES" sz="1600" b="1" dirty="0"/>
                        <a:t>etapas, responsabilidades y controles </a:t>
                      </a:r>
                      <a:r>
                        <a:rPr lang="es-ES" sz="1600" dirty="0"/>
                        <a:t>para asegurar la calidad</a:t>
                      </a:r>
                      <a:endParaRPr lang="es-PE" sz="16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39015398"/>
                  </a:ext>
                </a:extLst>
              </a:tr>
              <a:tr h="370840">
                <a:tc>
                  <a:txBody>
                    <a:bodyPr/>
                    <a:lstStyle/>
                    <a:p>
                      <a:r>
                        <a:rPr lang="es-ES" sz="1600" dirty="0"/>
                        <a:t>6</a:t>
                      </a:r>
                      <a:endParaRPr lang="es-PE" sz="16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PE" sz="1600" dirty="0"/>
                        <a:t>Procedimiento Corporativo de Remediación de Dato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s-ES" sz="1600" dirty="0"/>
                        <a:t>Definir los pasos para </a:t>
                      </a:r>
                      <a:r>
                        <a:rPr lang="es-ES" sz="1600" b="1" dirty="0"/>
                        <a:t>corregir los datos </a:t>
                      </a:r>
                      <a:r>
                        <a:rPr lang="es-ES" sz="1600" dirty="0"/>
                        <a:t>que no cumplen las reglas de calidad.</a:t>
                      </a:r>
                      <a:endParaRPr lang="es-PE" sz="16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27515923"/>
                  </a:ext>
                </a:extLst>
              </a:tr>
              <a:tr h="370840">
                <a:tc>
                  <a:txBody>
                    <a:bodyPr/>
                    <a:lstStyle/>
                    <a:p>
                      <a:r>
                        <a:rPr lang="es-ES" sz="1600" dirty="0"/>
                        <a:t>7</a:t>
                      </a:r>
                      <a:endParaRPr lang="es-PE" sz="16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PE" sz="1600" dirty="0"/>
                        <a:t>Procedimiento Corporativo para Asignar Accesos en Unity </a:t>
                      </a:r>
                      <a:r>
                        <a:rPr lang="es-PE" sz="1600" dirty="0" err="1"/>
                        <a:t>Catalog</a:t>
                      </a:r>
                      <a:endParaRPr lang="es-PE" sz="16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s-ES" sz="1800" b="0" i="0" kern="1200" dirty="0">
                          <a:solidFill>
                            <a:schemeClr val="dk1"/>
                          </a:solidFill>
                          <a:effectLst/>
                          <a:latin typeface="+mn-lt"/>
                          <a:ea typeface="+mn-ea"/>
                          <a:cs typeface="+mn-cs"/>
                        </a:rPr>
                        <a:t>Definir las actividades para </a:t>
                      </a:r>
                      <a:r>
                        <a:rPr lang="es-ES" sz="1800" b="1" i="0" kern="1200" dirty="0">
                          <a:solidFill>
                            <a:schemeClr val="dk1"/>
                          </a:solidFill>
                          <a:effectLst/>
                          <a:latin typeface="+mn-lt"/>
                          <a:ea typeface="+mn-ea"/>
                          <a:cs typeface="+mn-cs"/>
                        </a:rPr>
                        <a:t>solicitud, evaluación, aprobación y configuración </a:t>
                      </a:r>
                      <a:r>
                        <a:rPr lang="es-ES" sz="1800" b="0" i="0" kern="1200" dirty="0">
                          <a:solidFill>
                            <a:schemeClr val="dk1"/>
                          </a:solidFill>
                          <a:effectLst/>
                          <a:latin typeface="+mn-lt"/>
                          <a:ea typeface="+mn-ea"/>
                          <a:cs typeface="+mn-cs"/>
                        </a:rPr>
                        <a:t>de accesos en Unity </a:t>
                      </a:r>
                      <a:r>
                        <a:rPr lang="es-ES" sz="1800" b="0" i="0" kern="1200" dirty="0" err="1">
                          <a:solidFill>
                            <a:schemeClr val="dk1"/>
                          </a:solidFill>
                          <a:effectLst/>
                          <a:latin typeface="+mn-lt"/>
                          <a:ea typeface="+mn-ea"/>
                          <a:cs typeface="+mn-cs"/>
                        </a:rPr>
                        <a:t>Catalog</a:t>
                      </a:r>
                      <a:endParaRPr lang="es-PE" sz="16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5686821"/>
                  </a:ext>
                </a:extLst>
              </a:tr>
              <a:tr h="370840">
                <a:tc>
                  <a:txBody>
                    <a:bodyPr/>
                    <a:lstStyle/>
                    <a:p>
                      <a:r>
                        <a:rPr lang="es-ES" sz="1600" dirty="0"/>
                        <a:t>8</a:t>
                      </a:r>
                      <a:endParaRPr lang="es-PE" sz="16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PE" sz="1600" dirty="0"/>
                        <a:t>Procedimiento Corporativo de Transferencia de Propiedad en Unity </a:t>
                      </a:r>
                      <a:r>
                        <a:rPr lang="es-PE" sz="1600" dirty="0" err="1"/>
                        <a:t>Catalog</a:t>
                      </a:r>
                      <a:endParaRPr lang="es-PE" sz="16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s-ES" sz="1600" dirty="0"/>
                        <a:t>Establecer las actividades para la </a:t>
                      </a:r>
                      <a:r>
                        <a:rPr lang="es-ES" sz="1600" b="1" dirty="0"/>
                        <a:t>transferencia de propiedad de tablas </a:t>
                      </a:r>
                      <a:r>
                        <a:rPr lang="es-ES" sz="1600" dirty="0"/>
                        <a:t>en Unity </a:t>
                      </a:r>
                      <a:r>
                        <a:rPr lang="es-ES" sz="1600" dirty="0" err="1"/>
                        <a:t>Catalog</a:t>
                      </a:r>
                      <a:r>
                        <a:rPr lang="es-ES" sz="1600" dirty="0"/>
                        <a:t>.</a:t>
                      </a:r>
                      <a:endParaRPr lang="es-PE" sz="16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00557364"/>
                  </a:ext>
                </a:extLst>
              </a:tr>
              <a:tr h="370840">
                <a:tc>
                  <a:txBody>
                    <a:bodyPr/>
                    <a:lstStyle/>
                    <a:p>
                      <a:r>
                        <a:rPr lang="es-ES" sz="1600" dirty="0"/>
                        <a:t>9</a:t>
                      </a:r>
                      <a:endParaRPr lang="es-PE" sz="1600" dirty="0"/>
                    </a:p>
                  </a:txBody>
                  <a:tcPr>
                    <a:lnT w="12700" cap="flat" cmpd="sng" algn="ctr">
                      <a:solidFill>
                        <a:schemeClr val="tx1"/>
                      </a:solidFill>
                      <a:prstDash val="solid"/>
                      <a:round/>
                      <a:headEnd type="none" w="med" len="med"/>
                      <a:tailEnd type="none" w="med" len="med"/>
                    </a:lnT>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PE" sz="1600" dirty="0"/>
                        <a:t>Procedimiento Corporativo para Configurar </a:t>
                      </a:r>
                      <a:r>
                        <a:rPr lang="es-PE" sz="1600" dirty="0" err="1"/>
                        <a:t>Metadata</a:t>
                      </a:r>
                      <a:r>
                        <a:rPr lang="es-PE" sz="1600" dirty="0"/>
                        <a:t> </a:t>
                      </a:r>
                      <a:r>
                        <a:rPr lang="es-PE" sz="1600" dirty="0" err="1"/>
                        <a:t>Driven</a:t>
                      </a:r>
                      <a:endParaRPr lang="es-PE" sz="1600" dirty="0"/>
                    </a:p>
                  </a:txBody>
                  <a:tcPr>
                    <a:lnT w="12700" cap="flat" cmpd="sng" algn="ctr">
                      <a:solidFill>
                        <a:schemeClr val="tx1"/>
                      </a:solidFill>
                      <a:prstDash val="solid"/>
                      <a:round/>
                      <a:headEnd type="none" w="med" len="med"/>
                      <a:tailEnd type="none" w="med" len="med"/>
                    </a:lnT>
                    <a:noFill/>
                  </a:tcPr>
                </a:tc>
                <a:tc>
                  <a:txBody>
                    <a:bodyPr/>
                    <a:lstStyle/>
                    <a:p>
                      <a:r>
                        <a:rPr lang="es-ES" sz="1600" dirty="0"/>
                        <a:t>Definir etapas para </a:t>
                      </a:r>
                      <a:r>
                        <a:rPr lang="es-ES" sz="1600" b="1" dirty="0"/>
                        <a:t>configurar, modificar e incluir parámetros </a:t>
                      </a:r>
                      <a:r>
                        <a:rPr lang="es-ES" sz="1600" dirty="0"/>
                        <a:t>de fuentes hacia la ingesta de una solución.</a:t>
                      </a:r>
                      <a:endParaRPr lang="es-PE" sz="1600" dirty="0"/>
                    </a:p>
                  </a:txBody>
                  <a:tcPr anchor="ctr">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3436311181"/>
                  </a:ext>
                </a:extLst>
              </a:tr>
            </a:tbl>
          </a:graphicData>
        </a:graphic>
      </p:graphicFrame>
    </p:spTree>
    <p:extLst>
      <p:ext uri="{BB962C8B-B14F-4D97-AF65-F5344CB8AC3E}">
        <p14:creationId xmlns:p14="http://schemas.microsoft.com/office/powerpoint/2010/main" val="28669486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F76F2E-79E7-C60B-AAFB-9397B6E5D6F9}"/>
            </a:ext>
          </a:extLst>
        </p:cNvPr>
        <p:cNvGrpSpPr/>
        <p:nvPr/>
      </p:nvGrpSpPr>
      <p:grpSpPr>
        <a:xfrm>
          <a:off x="0" y="0"/>
          <a:ext cx="0" cy="0"/>
          <a:chOff x="0" y="0"/>
          <a:chExt cx="0" cy="0"/>
        </a:xfrm>
      </p:grpSpPr>
      <p:pic>
        <p:nvPicPr>
          <p:cNvPr id="7" name="Imagen 6" descr="Imagen que contiene Logotipo&#10;&#10;Descripción generada automáticamente">
            <a:extLst>
              <a:ext uri="{FF2B5EF4-FFF2-40B4-BE49-F238E27FC236}">
                <a16:creationId xmlns:a16="http://schemas.microsoft.com/office/drawing/2014/main" id="{95CC47BD-900A-FB29-B42C-FE8AF1285E7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0800000">
            <a:off x="5081070" y="5797825"/>
            <a:ext cx="7110930" cy="1060175"/>
          </a:xfrm>
          <a:prstGeom prst="rect">
            <a:avLst/>
          </a:prstGeom>
        </p:spPr>
      </p:pic>
      <p:graphicFrame>
        <p:nvGraphicFramePr>
          <p:cNvPr id="3" name="Objeto 2" hidden="1">
            <a:extLst>
              <a:ext uri="{FF2B5EF4-FFF2-40B4-BE49-F238E27FC236}">
                <a16:creationId xmlns:a16="http://schemas.microsoft.com/office/drawing/2014/main" id="{4D181DB2-75C3-4D08-F4CD-7F5EA9C7E9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3" name="Objeto 2" hidden="1">
                        <a:extLst>
                          <a:ext uri="{FF2B5EF4-FFF2-40B4-BE49-F238E27FC236}">
                            <a16:creationId xmlns:a16="http://schemas.microsoft.com/office/drawing/2014/main" id="{4D181DB2-75C3-4D08-F4CD-7F5EA9C7E99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588FFEED-0264-03D9-5322-B31AE9B80F1C}"/>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2800" b="1" i="0" u="none" strike="noStrike" kern="1200" cap="none" spc="0" normalizeH="0" baseline="0" noProof="0">
              <a:ln>
                <a:noFill/>
              </a:ln>
              <a:solidFill>
                <a:prstClr val="black"/>
              </a:solidFill>
              <a:effectLst/>
              <a:uLnTx/>
              <a:uFillTx/>
              <a:latin typeface="Calibri" panose="020F0502020204030204" pitchFamily="34" charset="0"/>
              <a:ea typeface="+mn-ea"/>
              <a:cs typeface="+mn-cs"/>
              <a:sym typeface="Calibri" panose="020F0502020204030204" pitchFamily="34" charset="0"/>
            </a:endParaRPr>
          </a:p>
        </p:txBody>
      </p:sp>
      <p:pic>
        <p:nvPicPr>
          <p:cNvPr id="38" name="Imagen 37" descr="Imagen que contiene Logotipo&#10;&#10;Descripción generada automáticamente">
            <a:extLst>
              <a:ext uri="{FF2B5EF4-FFF2-40B4-BE49-F238E27FC236}">
                <a16:creationId xmlns:a16="http://schemas.microsoft.com/office/drawing/2014/main" id="{D7B4A8F1-A1F7-E04F-250B-2413279F99D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2"/>
            <a:ext cx="7110930" cy="1060175"/>
          </a:xfrm>
          <a:prstGeom prst="rect">
            <a:avLst/>
          </a:prstGeom>
        </p:spPr>
      </p:pic>
      <p:pic>
        <p:nvPicPr>
          <p:cNvPr id="6" name="Imagen 5" descr="Logotipo&#10;&#10;Descripción generada automáticamente">
            <a:extLst>
              <a:ext uri="{FF2B5EF4-FFF2-40B4-BE49-F238E27FC236}">
                <a16:creationId xmlns:a16="http://schemas.microsoft.com/office/drawing/2014/main" id="{212342BD-CF8C-8367-B674-CD18EFBE4E3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29800" y="530086"/>
            <a:ext cx="1905000" cy="698500"/>
          </a:xfrm>
          <a:prstGeom prst="rect">
            <a:avLst/>
          </a:prstGeom>
        </p:spPr>
      </p:pic>
      <p:sp>
        <p:nvSpPr>
          <p:cNvPr id="2" name="Title 2">
            <a:extLst>
              <a:ext uri="{FF2B5EF4-FFF2-40B4-BE49-F238E27FC236}">
                <a16:creationId xmlns:a16="http://schemas.microsoft.com/office/drawing/2014/main" id="{B8932D09-E01B-EA64-9711-DE095DAFDE47}"/>
              </a:ext>
            </a:extLst>
          </p:cNvPr>
          <p:cNvSpPr>
            <a:spLocks noGrp="1"/>
          </p:cNvSpPr>
          <p:nvPr>
            <p:ph type="title"/>
          </p:nvPr>
        </p:nvSpPr>
        <p:spPr>
          <a:xfrm>
            <a:off x="1166026" y="2876614"/>
            <a:ext cx="7424334" cy="1327928"/>
          </a:xfrm>
        </p:spPr>
        <p:txBody>
          <a:bodyPr/>
          <a:lstStyle/>
          <a:p>
            <a:pPr>
              <a:lnSpc>
                <a:spcPts val="3500"/>
              </a:lnSpc>
              <a:spcBef>
                <a:spcPts val="0"/>
              </a:spcBef>
            </a:pPr>
            <a:br>
              <a:rPr lang="es-PE" sz="2800" dirty="0">
                <a:latin typeface="Source Sans Pro" panose="020B0503030403020204" pitchFamily="34" charset="0"/>
                <a:ea typeface="Source Sans Pro" panose="020B0503030403020204" pitchFamily="34" charset="0"/>
              </a:rPr>
            </a:br>
            <a:r>
              <a:rPr lang="es-MX" sz="2800" b="1" dirty="0">
                <a:solidFill>
                  <a:srgbClr val="3FA7A7"/>
                </a:solidFill>
                <a:latin typeface="Source Sans Pro"/>
                <a:ea typeface="Source Sans Pro"/>
                <a:cs typeface="Open Sans"/>
              </a:rPr>
              <a:t>Gobierno del Dato</a:t>
            </a:r>
            <a:br>
              <a:rPr lang="es-MX" sz="2800" b="1" dirty="0">
                <a:latin typeface="Source Sans Pro" panose="020B0503030403020204" pitchFamily="34" charset="0"/>
                <a:ea typeface="Source Sans Pro" panose="020B0503030403020204" pitchFamily="34" charset="0"/>
                <a:cs typeface="Open Sans"/>
              </a:rPr>
            </a:br>
            <a:endParaRPr lang="es-MX" sz="2800" b="1" dirty="0">
              <a:solidFill>
                <a:srgbClr val="3FA7A7"/>
              </a:solidFill>
              <a:latin typeface="Source Sans Pro" panose="020B0503030403020204" pitchFamily="34" charset="0"/>
              <a:ea typeface="Source Sans Pro" panose="020B0503030403020204" pitchFamily="34" charset="0"/>
              <a:cs typeface="Open Sans"/>
            </a:endParaRPr>
          </a:p>
        </p:txBody>
      </p:sp>
      <p:cxnSp>
        <p:nvCxnSpPr>
          <p:cNvPr id="44" name="Straight Connector 43">
            <a:extLst>
              <a:ext uri="{FF2B5EF4-FFF2-40B4-BE49-F238E27FC236}">
                <a16:creationId xmlns:a16="http://schemas.microsoft.com/office/drawing/2014/main" id="{4E45B47E-C351-FDD9-28FA-2A2124A064AC}"/>
              </a:ext>
            </a:extLst>
          </p:cNvPr>
          <p:cNvCxnSpPr>
            <a:cxnSpLocks/>
          </p:cNvCxnSpPr>
          <p:nvPr/>
        </p:nvCxnSpPr>
        <p:spPr>
          <a:xfrm>
            <a:off x="1169210" y="3935205"/>
            <a:ext cx="4785867" cy="0"/>
          </a:xfrm>
          <a:prstGeom prst="line">
            <a:avLst/>
          </a:prstGeom>
          <a:noFill/>
          <a:ln w="19050" cap="flat" cmpd="sng" algn="ctr">
            <a:solidFill>
              <a:schemeClr val="tx1">
                <a:lumMod val="50000"/>
                <a:lumOff val="50000"/>
              </a:schemeClr>
            </a:solidFill>
            <a:prstDash val="solid"/>
            <a:miter lim="800000"/>
            <a:headEnd type="oval"/>
            <a:tailEnd type="oval"/>
          </a:ln>
          <a:effectLst/>
        </p:spPr>
      </p:cxnSp>
      <p:pic>
        <p:nvPicPr>
          <p:cNvPr id="49" name="Picture 2" descr="Resultado de imagen para minsur">
            <a:extLst>
              <a:ext uri="{FF2B5EF4-FFF2-40B4-BE49-F238E27FC236}">
                <a16:creationId xmlns:a16="http://schemas.microsoft.com/office/drawing/2014/main" id="{76701E2A-AC55-95E0-C445-2F8A338E5F7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60047" y="1144115"/>
            <a:ext cx="1615333" cy="411933"/>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Servicios – Ensys">
            <a:extLst>
              <a:ext uri="{FF2B5EF4-FFF2-40B4-BE49-F238E27FC236}">
                <a16:creationId xmlns:a16="http://schemas.microsoft.com/office/drawing/2014/main" id="{08B7BE5B-3313-A05F-03BF-1AFB8696B29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551552" y="1137692"/>
            <a:ext cx="2203160" cy="42477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Raura Compañía Minera">
            <a:extLst>
              <a:ext uri="{FF2B5EF4-FFF2-40B4-BE49-F238E27FC236}">
                <a16:creationId xmlns:a16="http://schemas.microsoft.com/office/drawing/2014/main" id="{01644898-484B-2A87-7B43-294DA6542DC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930884" y="1144115"/>
            <a:ext cx="395744" cy="41193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Compañía Minera Raura | LinkedIn">
            <a:extLst>
              <a:ext uri="{FF2B5EF4-FFF2-40B4-BE49-F238E27FC236}">
                <a16:creationId xmlns:a16="http://schemas.microsoft.com/office/drawing/2014/main" id="{734582EA-8666-E9F5-C6F3-7ACB0D0E6570}"/>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32938" t="40358" r="-774" b="38386"/>
          <a:stretch>
            <a:fillRect/>
          </a:stretch>
        </p:blipFill>
        <p:spPr bwMode="auto">
          <a:xfrm>
            <a:off x="5449861" y="1283331"/>
            <a:ext cx="1292277" cy="404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61699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509AC3-5067-C817-B84D-1883517E0A73}"/>
            </a:ext>
          </a:extLst>
        </p:cNvPr>
        <p:cNvGrpSpPr/>
        <p:nvPr/>
      </p:nvGrpSpPr>
      <p:grpSpPr>
        <a:xfrm>
          <a:off x="0" y="0"/>
          <a:ext cx="0" cy="0"/>
          <a:chOff x="0" y="0"/>
          <a:chExt cx="0" cy="0"/>
        </a:xfrm>
      </p:grpSpPr>
      <p:pic>
        <p:nvPicPr>
          <p:cNvPr id="7" name="Imagen 6" descr="Imagen que contiene Logotipo&#10;&#10;Descripción generada automáticamente">
            <a:extLst>
              <a:ext uri="{FF2B5EF4-FFF2-40B4-BE49-F238E27FC236}">
                <a16:creationId xmlns:a16="http://schemas.microsoft.com/office/drawing/2014/main" id="{386C58DE-DEFB-EA17-2057-759AFB1D7AF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0800000">
            <a:off x="5081070" y="5797825"/>
            <a:ext cx="7110930" cy="1060175"/>
          </a:xfrm>
          <a:prstGeom prst="rect">
            <a:avLst/>
          </a:prstGeom>
        </p:spPr>
      </p:pic>
      <p:graphicFrame>
        <p:nvGraphicFramePr>
          <p:cNvPr id="3" name="Objeto 2" hidden="1">
            <a:extLst>
              <a:ext uri="{FF2B5EF4-FFF2-40B4-BE49-F238E27FC236}">
                <a16:creationId xmlns:a16="http://schemas.microsoft.com/office/drawing/2014/main" id="{2B8659F8-12F6-877A-8375-45504C475E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3" name="Objeto 2" hidden="1">
                        <a:extLst>
                          <a:ext uri="{FF2B5EF4-FFF2-40B4-BE49-F238E27FC236}">
                            <a16:creationId xmlns:a16="http://schemas.microsoft.com/office/drawing/2014/main" id="{2B8659F8-12F6-877A-8375-45504C475E8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7CB333A0-8425-426F-CD71-9E37C2F47FCD}"/>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28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sym typeface="Calibri" panose="020F0502020204030204" pitchFamily="34" charset="0"/>
            </a:endParaRPr>
          </a:p>
        </p:txBody>
      </p:sp>
      <p:pic>
        <p:nvPicPr>
          <p:cNvPr id="38" name="Imagen 37" descr="Imagen que contiene Logotipo&#10;&#10;Descripción generada automáticamente">
            <a:extLst>
              <a:ext uri="{FF2B5EF4-FFF2-40B4-BE49-F238E27FC236}">
                <a16:creationId xmlns:a16="http://schemas.microsoft.com/office/drawing/2014/main" id="{67F4AB94-B4E5-CDD7-03DE-C3C2849A92D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7110930" cy="1060175"/>
          </a:xfrm>
          <a:prstGeom prst="rect">
            <a:avLst/>
          </a:prstGeom>
        </p:spPr>
      </p:pic>
      <p:pic>
        <p:nvPicPr>
          <p:cNvPr id="6" name="Imagen 5" descr="Logotipo&#10;&#10;Descripción generada automáticamente">
            <a:extLst>
              <a:ext uri="{FF2B5EF4-FFF2-40B4-BE49-F238E27FC236}">
                <a16:creationId xmlns:a16="http://schemas.microsoft.com/office/drawing/2014/main" id="{3AC1ED96-FEA1-D309-03A5-DCFFC505ABE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29800" y="530086"/>
            <a:ext cx="1905000" cy="698500"/>
          </a:xfrm>
          <a:prstGeom prst="rect">
            <a:avLst/>
          </a:prstGeom>
        </p:spPr>
      </p:pic>
      <p:sp>
        <p:nvSpPr>
          <p:cNvPr id="2" name="Title 2">
            <a:extLst>
              <a:ext uri="{FF2B5EF4-FFF2-40B4-BE49-F238E27FC236}">
                <a16:creationId xmlns:a16="http://schemas.microsoft.com/office/drawing/2014/main" id="{E4D1CE89-1531-0385-03A3-B6E9BEDF23C1}"/>
              </a:ext>
            </a:extLst>
          </p:cNvPr>
          <p:cNvSpPr>
            <a:spLocks noGrp="1"/>
          </p:cNvSpPr>
          <p:nvPr>
            <p:ph type="title"/>
          </p:nvPr>
        </p:nvSpPr>
        <p:spPr>
          <a:xfrm>
            <a:off x="1365935" y="551249"/>
            <a:ext cx="8024099" cy="492443"/>
          </a:xfrm>
        </p:spPr>
        <p:txBody>
          <a:bodyPr anchor="ctr"/>
          <a:lstStyle/>
          <a:p>
            <a:pPr>
              <a:lnSpc>
                <a:spcPct val="100000"/>
              </a:lnSpc>
              <a:spcBef>
                <a:spcPts val="0"/>
              </a:spcBef>
            </a:pPr>
            <a:r>
              <a:rPr lang="es-PE" sz="3200" b="1" noProof="0" dirty="0">
                <a:solidFill>
                  <a:srgbClr val="3FA7A7"/>
                </a:solidFill>
                <a:latin typeface="Source Sans Pro" panose="020B0503030403020204" pitchFamily="34" charset="0"/>
                <a:ea typeface="Source Sans Pro" panose="020B0503030403020204" pitchFamily="34" charset="0"/>
                <a:cs typeface="Open Sans"/>
              </a:rPr>
              <a:t>Lineamientos de Gobierno del Dato</a:t>
            </a:r>
          </a:p>
        </p:txBody>
      </p:sp>
      <p:sp>
        <p:nvSpPr>
          <p:cNvPr id="11" name="Shape 42367">
            <a:extLst>
              <a:ext uri="{FF2B5EF4-FFF2-40B4-BE49-F238E27FC236}">
                <a16:creationId xmlns:a16="http://schemas.microsoft.com/office/drawing/2014/main" id="{B1ABCBF0-090A-EB10-2598-7086BB1F3C71}"/>
              </a:ext>
            </a:extLst>
          </p:cNvPr>
          <p:cNvSpPr/>
          <p:nvPr/>
        </p:nvSpPr>
        <p:spPr>
          <a:xfrm>
            <a:off x="3341441" y="4877900"/>
            <a:ext cx="0" cy="290653"/>
          </a:xfrm>
          <a:prstGeom prst="line">
            <a:avLst/>
          </a:pr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s-PE" sz="2000" noProof="0" dirty="0">
              <a:latin typeface="Lato Light" panose="020F0502020204030203" pitchFamily="34" charset="0"/>
            </a:endParaRPr>
          </a:p>
        </p:txBody>
      </p:sp>
      <p:sp>
        <p:nvSpPr>
          <p:cNvPr id="15" name="Shape 42368">
            <a:extLst>
              <a:ext uri="{FF2B5EF4-FFF2-40B4-BE49-F238E27FC236}">
                <a16:creationId xmlns:a16="http://schemas.microsoft.com/office/drawing/2014/main" id="{6E33B49D-FB52-291C-38EB-049960E12996}"/>
              </a:ext>
            </a:extLst>
          </p:cNvPr>
          <p:cNvSpPr/>
          <p:nvPr/>
        </p:nvSpPr>
        <p:spPr>
          <a:xfrm>
            <a:off x="6538648" y="4846539"/>
            <a:ext cx="0" cy="290653"/>
          </a:xfrm>
          <a:prstGeom prst="line">
            <a:avLst/>
          </a:pr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s-PE" sz="2000" noProof="0" dirty="0">
              <a:latin typeface="Lato Light" panose="020F0502020204030203" pitchFamily="34" charset="0"/>
            </a:endParaRPr>
          </a:p>
        </p:txBody>
      </p:sp>
      <p:sp>
        <p:nvSpPr>
          <p:cNvPr id="19" name="Shape 42371">
            <a:extLst>
              <a:ext uri="{FF2B5EF4-FFF2-40B4-BE49-F238E27FC236}">
                <a16:creationId xmlns:a16="http://schemas.microsoft.com/office/drawing/2014/main" id="{9C509F9F-D62B-E23A-6B11-6CF501160596}"/>
              </a:ext>
            </a:extLst>
          </p:cNvPr>
          <p:cNvSpPr/>
          <p:nvPr/>
        </p:nvSpPr>
        <p:spPr>
          <a:xfrm>
            <a:off x="5012134" y="2174559"/>
            <a:ext cx="0" cy="290653"/>
          </a:xfrm>
          <a:prstGeom prst="line">
            <a:avLst/>
          </a:pr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s-PE" sz="2000" noProof="0" dirty="0">
              <a:latin typeface="Lato Light" panose="020F0502020204030203" pitchFamily="34" charset="0"/>
            </a:endParaRPr>
          </a:p>
        </p:txBody>
      </p:sp>
      <p:sp>
        <p:nvSpPr>
          <p:cNvPr id="22" name="Shape 42372">
            <a:extLst>
              <a:ext uri="{FF2B5EF4-FFF2-40B4-BE49-F238E27FC236}">
                <a16:creationId xmlns:a16="http://schemas.microsoft.com/office/drawing/2014/main" id="{26725B50-88EA-58EF-5329-6B6C2602B4CC}"/>
              </a:ext>
            </a:extLst>
          </p:cNvPr>
          <p:cNvSpPr/>
          <p:nvPr/>
        </p:nvSpPr>
        <p:spPr>
          <a:xfrm>
            <a:off x="8255913" y="2174560"/>
            <a:ext cx="0" cy="290653"/>
          </a:xfrm>
          <a:prstGeom prst="line">
            <a:avLst/>
          </a:pr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s-PE" sz="2000" noProof="0" dirty="0">
              <a:latin typeface="Lato Light" panose="020F0502020204030203" pitchFamily="34" charset="0"/>
            </a:endParaRPr>
          </a:p>
        </p:txBody>
      </p:sp>
      <p:sp>
        <p:nvSpPr>
          <p:cNvPr id="23" name="Shape 42391">
            <a:extLst>
              <a:ext uri="{FF2B5EF4-FFF2-40B4-BE49-F238E27FC236}">
                <a16:creationId xmlns:a16="http://schemas.microsoft.com/office/drawing/2014/main" id="{08E48D2A-6C83-F047-1817-A64FA967DBBF}"/>
              </a:ext>
            </a:extLst>
          </p:cNvPr>
          <p:cNvSpPr/>
          <p:nvPr/>
        </p:nvSpPr>
        <p:spPr>
          <a:xfrm>
            <a:off x="2651829" y="2436500"/>
            <a:ext cx="2049387" cy="2443118"/>
          </a:xfrm>
          <a:custGeom>
            <a:avLst/>
            <a:gdLst/>
            <a:ahLst/>
            <a:cxnLst>
              <a:cxn ang="0">
                <a:pos x="wd2" y="hd2"/>
              </a:cxn>
              <a:cxn ang="5400000">
                <a:pos x="wd2" y="hd2"/>
              </a:cxn>
              <a:cxn ang="10800000">
                <a:pos x="wd2" y="hd2"/>
              </a:cxn>
              <a:cxn ang="16200000">
                <a:pos x="wd2" y="hd2"/>
              </a:cxn>
            </a:cxnLst>
            <a:rect l="0" t="0" r="r" b="b"/>
            <a:pathLst>
              <a:path w="21551" h="21563" extrusionOk="0">
                <a:moveTo>
                  <a:pt x="7399" y="0"/>
                </a:moveTo>
                <a:cubicBezTo>
                  <a:pt x="7173" y="0"/>
                  <a:pt x="6948" y="38"/>
                  <a:pt x="6738" y="113"/>
                </a:cubicBezTo>
                <a:cubicBezTo>
                  <a:pt x="6369" y="259"/>
                  <a:pt x="6105" y="460"/>
                  <a:pt x="5585" y="856"/>
                </a:cubicBezTo>
                <a:lnTo>
                  <a:pt x="3" y="5108"/>
                </a:lnTo>
                <a:lnTo>
                  <a:pt x="5181" y="9052"/>
                </a:lnTo>
                <a:cubicBezTo>
                  <a:pt x="5832" y="9547"/>
                  <a:pt x="6164" y="9800"/>
                  <a:pt x="6403" y="10153"/>
                </a:cubicBezTo>
                <a:cubicBezTo>
                  <a:pt x="6648" y="10552"/>
                  <a:pt x="6648" y="11012"/>
                  <a:pt x="6403" y="11411"/>
                </a:cubicBezTo>
                <a:cubicBezTo>
                  <a:pt x="6164" y="11763"/>
                  <a:pt x="5832" y="12014"/>
                  <a:pt x="5171" y="12517"/>
                </a:cubicBezTo>
                <a:lnTo>
                  <a:pt x="0" y="16456"/>
                </a:lnTo>
                <a:lnTo>
                  <a:pt x="5575" y="20703"/>
                </a:lnTo>
                <a:cubicBezTo>
                  <a:pt x="6103" y="21105"/>
                  <a:pt x="6369" y="21305"/>
                  <a:pt x="6738" y="21451"/>
                </a:cubicBezTo>
                <a:cubicBezTo>
                  <a:pt x="7157" y="21600"/>
                  <a:pt x="7641" y="21600"/>
                  <a:pt x="8059" y="21451"/>
                </a:cubicBezTo>
                <a:cubicBezTo>
                  <a:pt x="8428" y="21305"/>
                  <a:pt x="8693" y="21104"/>
                  <a:pt x="9212" y="20708"/>
                </a:cubicBezTo>
                <a:lnTo>
                  <a:pt x="20422" y="12170"/>
                </a:lnTo>
                <a:cubicBezTo>
                  <a:pt x="20950" y="11767"/>
                  <a:pt x="21213" y="11565"/>
                  <a:pt x="21405" y="11284"/>
                </a:cubicBezTo>
                <a:cubicBezTo>
                  <a:pt x="21600" y="10965"/>
                  <a:pt x="21600" y="10597"/>
                  <a:pt x="21405" y="10278"/>
                </a:cubicBezTo>
                <a:cubicBezTo>
                  <a:pt x="21213" y="9996"/>
                  <a:pt x="20949" y="9795"/>
                  <a:pt x="20429" y="9399"/>
                </a:cubicBezTo>
                <a:lnTo>
                  <a:pt x="9219" y="861"/>
                </a:lnTo>
                <a:cubicBezTo>
                  <a:pt x="8691" y="459"/>
                  <a:pt x="8429" y="259"/>
                  <a:pt x="8059" y="113"/>
                </a:cubicBezTo>
                <a:cubicBezTo>
                  <a:pt x="7850" y="38"/>
                  <a:pt x="7624" y="0"/>
                  <a:pt x="7399" y="0"/>
                </a:cubicBezTo>
                <a:close/>
              </a:path>
            </a:pathLst>
          </a:custGeom>
          <a:solidFill>
            <a:schemeClr val="accent1"/>
          </a:solidFill>
          <a:ln w="12700" cap="flat">
            <a:noFill/>
            <a:miter lim="400000"/>
          </a:ln>
          <a:effectLst/>
        </p:spPr>
        <p:txBody>
          <a:bodyPr wrap="square" lIns="0" tIns="0" rIns="0" bIns="0" numCol="1" anchor="t">
            <a:noAutofit/>
          </a:bodyPr>
          <a:lstStyle/>
          <a:p>
            <a:endParaRPr lang="es-PE" sz="2000" noProof="0" dirty="0">
              <a:latin typeface="Lato Light" panose="020F0502020204030203" pitchFamily="34" charset="0"/>
            </a:endParaRPr>
          </a:p>
        </p:txBody>
      </p:sp>
      <p:sp>
        <p:nvSpPr>
          <p:cNvPr id="24" name="Shape 42392">
            <a:extLst>
              <a:ext uri="{FF2B5EF4-FFF2-40B4-BE49-F238E27FC236}">
                <a16:creationId xmlns:a16="http://schemas.microsoft.com/office/drawing/2014/main" id="{B9F38F18-84C1-457D-D74C-71655AE7501B}"/>
              </a:ext>
            </a:extLst>
          </p:cNvPr>
          <p:cNvSpPr/>
          <p:nvPr/>
        </p:nvSpPr>
        <p:spPr>
          <a:xfrm>
            <a:off x="3204355" y="3497682"/>
            <a:ext cx="680859" cy="320754"/>
          </a:xfrm>
          <a:prstGeom prst="rightArrow">
            <a:avLst>
              <a:gd name="adj1" fmla="val 42849"/>
              <a:gd name="adj2" fmla="val 62190"/>
            </a:avLst>
          </a:prstGeom>
          <a:solidFill>
            <a:schemeClr val="bg1"/>
          </a:solidFill>
          <a:ln w="12700" cap="flat">
            <a:noFill/>
            <a:miter lim="400000"/>
          </a:ln>
          <a:effectLst/>
        </p:spPr>
        <p:txBody>
          <a:bodyPr wrap="square" lIns="0" tIns="0" rIns="0" bIns="0" numCol="1" anchor="t">
            <a:noAutofit/>
          </a:bodyPr>
          <a:lstStyle/>
          <a:p>
            <a:endParaRPr lang="es-PE" sz="2000" noProof="0" dirty="0">
              <a:latin typeface="Lato Light" panose="020F0502020204030203" pitchFamily="34" charset="0"/>
            </a:endParaRPr>
          </a:p>
        </p:txBody>
      </p:sp>
      <p:sp>
        <p:nvSpPr>
          <p:cNvPr id="27" name="Shape 42397">
            <a:extLst>
              <a:ext uri="{FF2B5EF4-FFF2-40B4-BE49-F238E27FC236}">
                <a16:creationId xmlns:a16="http://schemas.microsoft.com/office/drawing/2014/main" id="{8F2362EE-20C6-4B42-069E-CFD6645D5B1F}"/>
              </a:ext>
            </a:extLst>
          </p:cNvPr>
          <p:cNvSpPr/>
          <p:nvPr/>
        </p:nvSpPr>
        <p:spPr>
          <a:xfrm>
            <a:off x="4291450" y="2436500"/>
            <a:ext cx="2049388" cy="2443118"/>
          </a:xfrm>
          <a:custGeom>
            <a:avLst/>
            <a:gdLst/>
            <a:ahLst/>
            <a:cxnLst>
              <a:cxn ang="0">
                <a:pos x="wd2" y="hd2"/>
              </a:cxn>
              <a:cxn ang="5400000">
                <a:pos x="wd2" y="hd2"/>
              </a:cxn>
              <a:cxn ang="10800000">
                <a:pos x="wd2" y="hd2"/>
              </a:cxn>
              <a:cxn ang="16200000">
                <a:pos x="wd2" y="hd2"/>
              </a:cxn>
            </a:cxnLst>
            <a:rect l="0" t="0" r="r" b="b"/>
            <a:pathLst>
              <a:path w="21551" h="21563" extrusionOk="0">
                <a:moveTo>
                  <a:pt x="7399" y="0"/>
                </a:moveTo>
                <a:cubicBezTo>
                  <a:pt x="7173" y="0"/>
                  <a:pt x="6948" y="38"/>
                  <a:pt x="6738" y="113"/>
                </a:cubicBezTo>
                <a:cubicBezTo>
                  <a:pt x="6369" y="259"/>
                  <a:pt x="6105" y="460"/>
                  <a:pt x="5585" y="856"/>
                </a:cubicBezTo>
                <a:lnTo>
                  <a:pt x="3" y="5108"/>
                </a:lnTo>
                <a:lnTo>
                  <a:pt x="5181" y="9052"/>
                </a:lnTo>
                <a:cubicBezTo>
                  <a:pt x="5832" y="9547"/>
                  <a:pt x="6164" y="9800"/>
                  <a:pt x="6403" y="10153"/>
                </a:cubicBezTo>
                <a:cubicBezTo>
                  <a:pt x="6648" y="10552"/>
                  <a:pt x="6648" y="11012"/>
                  <a:pt x="6403" y="11411"/>
                </a:cubicBezTo>
                <a:cubicBezTo>
                  <a:pt x="6164" y="11763"/>
                  <a:pt x="5832" y="12014"/>
                  <a:pt x="5171" y="12517"/>
                </a:cubicBezTo>
                <a:lnTo>
                  <a:pt x="0" y="16456"/>
                </a:lnTo>
                <a:lnTo>
                  <a:pt x="5575" y="20703"/>
                </a:lnTo>
                <a:cubicBezTo>
                  <a:pt x="6103" y="21105"/>
                  <a:pt x="6369" y="21305"/>
                  <a:pt x="6738" y="21451"/>
                </a:cubicBezTo>
                <a:cubicBezTo>
                  <a:pt x="7157" y="21600"/>
                  <a:pt x="7641" y="21600"/>
                  <a:pt x="8059" y="21451"/>
                </a:cubicBezTo>
                <a:cubicBezTo>
                  <a:pt x="8428" y="21305"/>
                  <a:pt x="8693" y="21104"/>
                  <a:pt x="9212" y="20708"/>
                </a:cubicBezTo>
                <a:lnTo>
                  <a:pt x="20422" y="12170"/>
                </a:lnTo>
                <a:cubicBezTo>
                  <a:pt x="20950" y="11767"/>
                  <a:pt x="21213" y="11565"/>
                  <a:pt x="21405" y="11284"/>
                </a:cubicBezTo>
                <a:cubicBezTo>
                  <a:pt x="21600" y="10965"/>
                  <a:pt x="21600" y="10597"/>
                  <a:pt x="21405" y="10278"/>
                </a:cubicBezTo>
                <a:cubicBezTo>
                  <a:pt x="21213" y="9996"/>
                  <a:pt x="20949" y="9795"/>
                  <a:pt x="20429" y="9399"/>
                </a:cubicBezTo>
                <a:lnTo>
                  <a:pt x="9219" y="861"/>
                </a:lnTo>
                <a:cubicBezTo>
                  <a:pt x="8691" y="459"/>
                  <a:pt x="8429" y="259"/>
                  <a:pt x="8059" y="113"/>
                </a:cubicBezTo>
                <a:cubicBezTo>
                  <a:pt x="7850" y="38"/>
                  <a:pt x="7624" y="0"/>
                  <a:pt x="7399" y="0"/>
                </a:cubicBezTo>
                <a:close/>
              </a:path>
            </a:pathLst>
          </a:custGeom>
          <a:solidFill>
            <a:schemeClr val="accent2"/>
          </a:solidFill>
          <a:ln w="12700" cap="flat">
            <a:noFill/>
            <a:miter lim="400000"/>
          </a:ln>
          <a:effectLst/>
        </p:spPr>
        <p:txBody>
          <a:bodyPr wrap="square" lIns="0" tIns="0" rIns="0" bIns="0" numCol="1" anchor="t">
            <a:noAutofit/>
          </a:bodyPr>
          <a:lstStyle/>
          <a:p>
            <a:endParaRPr lang="es-PE" sz="2000" noProof="0" dirty="0">
              <a:latin typeface="Lato Light" panose="020F0502020204030203" pitchFamily="34" charset="0"/>
            </a:endParaRPr>
          </a:p>
        </p:txBody>
      </p:sp>
      <p:sp>
        <p:nvSpPr>
          <p:cNvPr id="28" name="Shape 42401">
            <a:extLst>
              <a:ext uri="{FF2B5EF4-FFF2-40B4-BE49-F238E27FC236}">
                <a16:creationId xmlns:a16="http://schemas.microsoft.com/office/drawing/2014/main" id="{8D89547E-4F6C-512B-C56F-7DC9A5170FE6}"/>
              </a:ext>
            </a:extLst>
          </p:cNvPr>
          <p:cNvSpPr/>
          <p:nvPr/>
        </p:nvSpPr>
        <p:spPr>
          <a:xfrm>
            <a:off x="4837589" y="3497682"/>
            <a:ext cx="680859" cy="320754"/>
          </a:xfrm>
          <a:prstGeom prst="rightArrow">
            <a:avLst>
              <a:gd name="adj1" fmla="val 42849"/>
              <a:gd name="adj2" fmla="val 62190"/>
            </a:avLst>
          </a:prstGeom>
          <a:solidFill>
            <a:schemeClr val="bg1"/>
          </a:solidFill>
          <a:ln w="12700" cap="flat">
            <a:noFill/>
            <a:miter lim="400000"/>
          </a:ln>
          <a:effectLst/>
        </p:spPr>
        <p:txBody>
          <a:bodyPr wrap="square" lIns="0" tIns="0" rIns="0" bIns="0" numCol="1" anchor="t">
            <a:noAutofit/>
          </a:bodyPr>
          <a:lstStyle/>
          <a:p>
            <a:endParaRPr lang="es-PE" sz="2000" noProof="0" dirty="0">
              <a:latin typeface="Lato Light" panose="020F0502020204030203" pitchFamily="34" charset="0"/>
            </a:endParaRPr>
          </a:p>
        </p:txBody>
      </p:sp>
      <p:sp>
        <p:nvSpPr>
          <p:cNvPr id="29" name="Shape 42403">
            <a:extLst>
              <a:ext uri="{FF2B5EF4-FFF2-40B4-BE49-F238E27FC236}">
                <a16:creationId xmlns:a16="http://schemas.microsoft.com/office/drawing/2014/main" id="{11469F74-EAD0-0097-2D69-2D02A9493E3E}"/>
              </a:ext>
            </a:extLst>
          </p:cNvPr>
          <p:cNvSpPr/>
          <p:nvPr/>
        </p:nvSpPr>
        <p:spPr>
          <a:xfrm>
            <a:off x="5911076" y="2436500"/>
            <a:ext cx="2049388" cy="2443118"/>
          </a:xfrm>
          <a:custGeom>
            <a:avLst/>
            <a:gdLst/>
            <a:ahLst/>
            <a:cxnLst>
              <a:cxn ang="0">
                <a:pos x="wd2" y="hd2"/>
              </a:cxn>
              <a:cxn ang="5400000">
                <a:pos x="wd2" y="hd2"/>
              </a:cxn>
              <a:cxn ang="10800000">
                <a:pos x="wd2" y="hd2"/>
              </a:cxn>
              <a:cxn ang="16200000">
                <a:pos x="wd2" y="hd2"/>
              </a:cxn>
            </a:cxnLst>
            <a:rect l="0" t="0" r="r" b="b"/>
            <a:pathLst>
              <a:path w="21551" h="21563" extrusionOk="0">
                <a:moveTo>
                  <a:pt x="7399" y="0"/>
                </a:moveTo>
                <a:cubicBezTo>
                  <a:pt x="7173" y="0"/>
                  <a:pt x="6948" y="38"/>
                  <a:pt x="6738" y="113"/>
                </a:cubicBezTo>
                <a:cubicBezTo>
                  <a:pt x="6369" y="259"/>
                  <a:pt x="6105" y="460"/>
                  <a:pt x="5585" y="856"/>
                </a:cubicBezTo>
                <a:lnTo>
                  <a:pt x="3" y="5108"/>
                </a:lnTo>
                <a:lnTo>
                  <a:pt x="5181" y="9052"/>
                </a:lnTo>
                <a:cubicBezTo>
                  <a:pt x="5832" y="9547"/>
                  <a:pt x="6164" y="9800"/>
                  <a:pt x="6403" y="10153"/>
                </a:cubicBezTo>
                <a:cubicBezTo>
                  <a:pt x="6648" y="10552"/>
                  <a:pt x="6648" y="11012"/>
                  <a:pt x="6403" y="11411"/>
                </a:cubicBezTo>
                <a:cubicBezTo>
                  <a:pt x="6164" y="11763"/>
                  <a:pt x="5832" y="12014"/>
                  <a:pt x="5171" y="12517"/>
                </a:cubicBezTo>
                <a:lnTo>
                  <a:pt x="0" y="16456"/>
                </a:lnTo>
                <a:lnTo>
                  <a:pt x="5575" y="20703"/>
                </a:lnTo>
                <a:cubicBezTo>
                  <a:pt x="6103" y="21105"/>
                  <a:pt x="6369" y="21305"/>
                  <a:pt x="6738" y="21451"/>
                </a:cubicBezTo>
                <a:cubicBezTo>
                  <a:pt x="7157" y="21600"/>
                  <a:pt x="7641" y="21600"/>
                  <a:pt x="8059" y="21451"/>
                </a:cubicBezTo>
                <a:cubicBezTo>
                  <a:pt x="8428" y="21305"/>
                  <a:pt x="8693" y="21104"/>
                  <a:pt x="9212" y="20708"/>
                </a:cubicBezTo>
                <a:lnTo>
                  <a:pt x="20422" y="12170"/>
                </a:lnTo>
                <a:cubicBezTo>
                  <a:pt x="20950" y="11767"/>
                  <a:pt x="21213" y="11565"/>
                  <a:pt x="21405" y="11284"/>
                </a:cubicBezTo>
                <a:cubicBezTo>
                  <a:pt x="21600" y="10965"/>
                  <a:pt x="21600" y="10597"/>
                  <a:pt x="21405" y="10278"/>
                </a:cubicBezTo>
                <a:cubicBezTo>
                  <a:pt x="21213" y="9996"/>
                  <a:pt x="20949" y="9795"/>
                  <a:pt x="20429" y="9399"/>
                </a:cubicBezTo>
                <a:lnTo>
                  <a:pt x="9219" y="861"/>
                </a:lnTo>
                <a:cubicBezTo>
                  <a:pt x="8691" y="459"/>
                  <a:pt x="8429" y="259"/>
                  <a:pt x="8059" y="113"/>
                </a:cubicBezTo>
                <a:cubicBezTo>
                  <a:pt x="7850" y="38"/>
                  <a:pt x="7624" y="0"/>
                  <a:pt x="7399" y="0"/>
                </a:cubicBezTo>
                <a:close/>
              </a:path>
            </a:pathLst>
          </a:custGeom>
          <a:solidFill>
            <a:srgbClr val="98002E"/>
          </a:solidFill>
          <a:ln w="12700" cap="flat">
            <a:noFill/>
            <a:miter lim="400000"/>
          </a:ln>
          <a:effectLst/>
        </p:spPr>
        <p:txBody>
          <a:bodyPr wrap="square" lIns="0" tIns="0" rIns="0" bIns="0" numCol="1" anchor="t">
            <a:noAutofit/>
          </a:bodyPr>
          <a:lstStyle/>
          <a:p>
            <a:endParaRPr lang="es-PE" sz="2000" noProof="0" dirty="0">
              <a:latin typeface="Lato Light" panose="020F0502020204030203" pitchFamily="34" charset="0"/>
            </a:endParaRPr>
          </a:p>
        </p:txBody>
      </p:sp>
      <p:sp>
        <p:nvSpPr>
          <p:cNvPr id="30" name="Shape 42407">
            <a:extLst>
              <a:ext uri="{FF2B5EF4-FFF2-40B4-BE49-F238E27FC236}">
                <a16:creationId xmlns:a16="http://schemas.microsoft.com/office/drawing/2014/main" id="{3B3BA3A6-B7F3-3EAA-5432-A705332EF9E7}"/>
              </a:ext>
            </a:extLst>
          </p:cNvPr>
          <p:cNvSpPr/>
          <p:nvPr/>
        </p:nvSpPr>
        <p:spPr>
          <a:xfrm>
            <a:off x="6470824" y="3497682"/>
            <a:ext cx="680859" cy="320754"/>
          </a:xfrm>
          <a:prstGeom prst="rightArrow">
            <a:avLst>
              <a:gd name="adj1" fmla="val 42849"/>
              <a:gd name="adj2" fmla="val 62190"/>
            </a:avLst>
          </a:prstGeom>
          <a:solidFill>
            <a:schemeClr val="bg1"/>
          </a:solidFill>
          <a:ln w="12700" cap="flat">
            <a:noFill/>
            <a:miter lim="400000"/>
          </a:ln>
          <a:effectLst/>
        </p:spPr>
        <p:txBody>
          <a:bodyPr wrap="square" lIns="0" tIns="0" rIns="0" bIns="0" numCol="1" anchor="t">
            <a:noAutofit/>
          </a:bodyPr>
          <a:lstStyle/>
          <a:p>
            <a:endParaRPr lang="es-PE" sz="2000" noProof="0" dirty="0">
              <a:latin typeface="Lato Light" panose="020F0502020204030203" pitchFamily="34" charset="0"/>
            </a:endParaRPr>
          </a:p>
        </p:txBody>
      </p:sp>
      <p:sp>
        <p:nvSpPr>
          <p:cNvPr id="32" name="Shape 42409">
            <a:extLst>
              <a:ext uri="{FF2B5EF4-FFF2-40B4-BE49-F238E27FC236}">
                <a16:creationId xmlns:a16="http://schemas.microsoft.com/office/drawing/2014/main" id="{B0D14AC1-85BF-61F9-103F-28E3EAA3F10A}"/>
              </a:ext>
            </a:extLst>
          </p:cNvPr>
          <p:cNvSpPr/>
          <p:nvPr/>
        </p:nvSpPr>
        <p:spPr>
          <a:xfrm>
            <a:off x="7550696" y="2436500"/>
            <a:ext cx="2049388" cy="2443118"/>
          </a:xfrm>
          <a:custGeom>
            <a:avLst/>
            <a:gdLst/>
            <a:ahLst/>
            <a:cxnLst>
              <a:cxn ang="0">
                <a:pos x="wd2" y="hd2"/>
              </a:cxn>
              <a:cxn ang="5400000">
                <a:pos x="wd2" y="hd2"/>
              </a:cxn>
              <a:cxn ang="10800000">
                <a:pos x="wd2" y="hd2"/>
              </a:cxn>
              <a:cxn ang="16200000">
                <a:pos x="wd2" y="hd2"/>
              </a:cxn>
            </a:cxnLst>
            <a:rect l="0" t="0" r="r" b="b"/>
            <a:pathLst>
              <a:path w="21551" h="21563" extrusionOk="0">
                <a:moveTo>
                  <a:pt x="7399" y="0"/>
                </a:moveTo>
                <a:cubicBezTo>
                  <a:pt x="7173" y="0"/>
                  <a:pt x="6948" y="38"/>
                  <a:pt x="6738" y="113"/>
                </a:cubicBezTo>
                <a:cubicBezTo>
                  <a:pt x="6369" y="259"/>
                  <a:pt x="6105" y="460"/>
                  <a:pt x="5585" y="856"/>
                </a:cubicBezTo>
                <a:lnTo>
                  <a:pt x="3" y="5108"/>
                </a:lnTo>
                <a:lnTo>
                  <a:pt x="5181" y="9052"/>
                </a:lnTo>
                <a:cubicBezTo>
                  <a:pt x="5832" y="9547"/>
                  <a:pt x="6164" y="9800"/>
                  <a:pt x="6403" y="10153"/>
                </a:cubicBezTo>
                <a:cubicBezTo>
                  <a:pt x="6648" y="10552"/>
                  <a:pt x="6648" y="11012"/>
                  <a:pt x="6403" y="11411"/>
                </a:cubicBezTo>
                <a:cubicBezTo>
                  <a:pt x="6164" y="11763"/>
                  <a:pt x="5832" y="12014"/>
                  <a:pt x="5171" y="12517"/>
                </a:cubicBezTo>
                <a:lnTo>
                  <a:pt x="0" y="16456"/>
                </a:lnTo>
                <a:lnTo>
                  <a:pt x="5575" y="20703"/>
                </a:lnTo>
                <a:cubicBezTo>
                  <a:pt x="6103" y="21105"/>
                  <a:pt x="6369" y="21305"/>
                  <a:pt x="6738" y="21451"/>
                </a:cubicBezTo>
                <a:cubicBezTo>
                  <a:pt x="7157" y="21600"/>
                  <a:pt x="7641" y="21600"/>
                  <a:pt x="8059" y="21451"/>
                </a:cubicBezTo>
                <a:cubicBezTo>
                  <a:pt x="8428" y="21305"/>
                  <a:pt x="8693" y="21104"/>
                  <a:pt x="9212" y="20708"/>
                </a:cubicBezTo>
                <a:lnTo>
                  <a:pt x="20422" y="12170"/>
                </a:lnTo>
                <a:cubicBezTo>
                  <a:pt x="20950" y="11767"/>
                  <a:pt x="21213" y="11565"/>
                  <a:pt x="21405" y="11284"/>
                </a:cubicBezTo>
                <a:cubicBezTo>
                  <a:pt x="21600" y="10965"/>
                  <a:pt x="21600" y="10597"/>
                  <a:pt x="21405" y="10278"/>
                </a:cubicBezTo>
                <a:cubicBezTo>
                  <a:pt x="21213" y="9996"/>
                  <a:pt x="20949" y="9795"/>
                  <a:pt x="20429" y="9399"/>
                </a:cubicBezTo>
                <a:lnTo>
                  <a:pt x="9219" y="861"/>
                </a:lnTo>
                <a:cubicBezTo>
                  <a:pt x="8691" y="459"/>
                  <a:pt x="8429" y="259"/>
                  <a:pt x="8059" y="113"/>
                </a:cubicBezTo>
                <a:cubicBezTo>
                  <a:pt x="7850" y="38"/>
                  <a:pt x="7624" y="0"/>
                  <a:pt x="7399" y="0"/>
                </a:cubicBezTo>
                <a:close/>
              </a:path>
            </a:pathLst>
          </a:custGeom>
          <a:solidFill>
            <a:schemeClr val="accent4"/>
          </a:solidFill>
          <a:ln w="12700" cap="flat">
            <a:noFill/>
            <a:miter lim="400000"/>
          </a:ln>
          <a:effectLst/>
        </p:spPr>
        <p:txBody>
          <a:bodyPr wrap="square" lIns="0" tIns="0" rIns="0" bIns="0" numCol="1" anchor="t">
            <a:noAutofit/>
          </a:bodyPr>
          <a:lstStyle/>
          <a:p>
            <a:endParaRPr lang="es-PE" sz="2000" noProof="0" dirty="0">
              <a:latin typeface="Lato Light" panose="020F0502020204030203" pitchFamily="34" charset="0"/>
            </a:endParaRPr>
          </a:p>
        </p:txBody>
      </p:sp>
      <p:sp>
        <p:nvSpPr>
          <p:cNvPr id="33" name="Shape 42413">
            <a:extLst>
              <a:ext uri="{FF2B5EF4-FFF2-40B4-BE49-F238E27FC236}">
                <a16:creationId xmlns:a16="http://schemas.microsoft.com/office/drawing/2014/main" id="{2485044E-D8A2-D5EA-ACDC-8A95BA6F80A2}"/>
              </a:ext>
            </a:extLst>
          </p:cNvPr>
          <p:cNvSpPr/>
          <p:nvPr/>
        </p:nvSpPr>
        <p:spPr>
          <a:xfrm>
            <a:off x="8104057" y="3497682"/>
            <a:ext cx="680859" cy="320754"/>
          </a:xfrm>
          <a:prstGeom prst="rightArrow">
            <a:avLst>
              <a:gd name="adj1" fmla="val 42849"/>
              <a:gd name="adj2" fmla="val 62190"/>
            </a:avLst>
          </a:prstGeom>
          <a:solidFill>
            <a:schemeClr val="bg1"/>
          </a:solidFill>
          <a:ln w="12700" cap="flat">
            <a:noFill/>
            <a:miter lim="400000"/>
          </a:ln>
          <a:effectLst/>
        </p:spPr>
        <p:txBody>
          <a:bodyPr wrap="square" lIns="0" tIns="0" rIns="0" bIns="0" numCol="1" anchor="t">
            <a:noAutofit/>
          </a:bodyPr>
          <a:lstStyle/>
          <a:p>
            <a:endParaRPr lang="es-PE" sz="2000" noProof="0" dirty="0">
              <a:latin typeface="Lato Light" panose="020F0502020204030203" pitchFamily="34" charset="0"/>
            </a:endParaRPr>
          </a:p>
        </p:txBody>
      </p:sp>
      <p:sp>
        <p:nvSpPr>
          <p:cNvPr id="36" name="Shape 42419">
            <a:extLst>
              <a:ext uri="{FF2B5EF4-FFF2-40B4-BE49-F238E27FC236}">
                <a16:creationId xmlns:a16="http://schemas.microsoft.com/office/drawing/2014/main" id="{82D099D5-1E75-A6D4-0428-2DF3F27608DA}"/>
              </a:ext>
            </a:extLst>
          </p:cNvPr>
          <p:cNvSpPr/>
          <p:nvPr/>
        </p:nvSpPr>
        <p:spPr>
          <a:xfrm>
            <a:off x="9737292" y="3497682"/>
            <a:ext cx="680859" cy="320754"/>
          </a:xfrm>
          <a:prstGeom prst="rightArrow">
            <a:avLst>
              <a:gd name="adj1" fmla="val 42849"/>
              <a:gd name="adj2" fmla="val 62190"/>
            </a:avLst>
          </a:prstGeom>
          <a:solidFill>
            <a:schemeClr val="bg1"/>
          </a:solidFill>
          <a:ln w="12700" cap="flat">
            <a:noFill/>
            <a:miter lim="400000"/>
          </a:ln>
          <a:effectLst/>
        </p:spPr>
        <p:txBody>
          <a:bodyPr wrap="square" lIns="0" tIns="0" rIns="0" bIns="0" numCol="1" anchor="t">
            <a:noAutofit/>
          </a:bodyPr>
          <a:lstStyle/>
          <a:p>
            <a:endParaRPr lang="es-PE" sz="2000" noProof="0" dirty="0">
              <a:latin typeface="Lato Light" panose="020F0502020204030203" pitchFamily="34" charset="0"/>
            </a:endParaRPr>
          </a:p>
        </p:txBody>
      </p:sp>
      <p:sp>
        <p:nvSpPr>
          <p:cNvPr id="39" name="TextBox 60">
            <a:extLst>
              <a:ext uri="{FF2B5EF4-FFF2-40B4-BE49-F238E27FC236}">
                <a16:creationId xmlns:a16="http://schemas.microsoft.com/office/drawing/2014/main" id="{2B6DE068-5B0C-A317-6475-30F9DE42B5EE}"/>
              </a:ext>
            </a:extLst>
          </p:cNvPr>
          <p:cNvSpPr txBox="1"/>
          <p:nvPr/>
        </p:nvSpPr>
        <p:spPr>
          <a:xfrm>
            <a:off x="3885214" y="1568858"/>
            <a:ext cx="2671225" cy="887422"/>
          </a:xfrm>
          <a:prstGeom prst="rect">
            <a:avLst/>
          </a:prstGeom>
          <a:noFill/>
        </p:spPr>
        <p:txBody>
          <a:bodyPr wrap="square" rtlCol="0" anchor="t">
            <a:spAutoFit/>
          </a:bodyPr>
          <a:lstStyle/>
          <a:p>
            <a:pPr algn="just">
              <a:spcBef>
                <a:spcPts val="675"/>
              </a:spcBef>
            </a:pPr>
            <a:r>
              <a:rPr lang="es-PE" sz="1000" noProof="0" dirty="0">
                <a:latin typeface="Trebuchet MS" panose="020B0603020202020204" pitchFamily="34" charset="0"/>
                <a:ea typeface="Lato Light" panose="020F0502020204030203" pitchFamily="34" charset="0"/>
                <a:cs typeface="Lato Light" panose="020F0502020204030203" pitchFamily="34" charset="0"/>
              </a:rPr>
              <a:t>Definir criterios de calidad para un catálogo de reglas de calidad</a:t>
            </a:r>
          </a:p>
          <a:p>
            <a:pPr algn="just">
              <a:spcBef>
                <a:spcPts val="675"/>
              </a:spcBef>
            </a:pPr>
            <a:r>
              <a:rPr lang="es-PE" sz="1000" dirty="0">
                <a:latin typeface="Trebuchet MS" panose="020B0603020202020204" pitchFamily="34" charset="0"/>
                <a:ea typeface="Lato Light" panose="020F0502020204030203" pitchFamily="34" charset="0"/>
                <a:cs typeface="Lato Light" panose="020F0502020204030203" pitchFamily="34" charset="0"/>
              </a:rPr>
              <a:t>Definir remediaciones</a:t>
            </a:r>
            <a:endParaRPr lang="es-PE" sz="1000" noProof="0" dirty="0">
              <a:latin typeface="Trebuchet MS" panose="020B0603020202020204" pitchFamily="34" charset="0"/>
              <a:ea typeface="Lato Light" panose="020F0502020204030203" pitchFamily="34" charset="0"/>
              <a:cs typeface="Lato Light" panose="020F0502020204030203" pitchFamily="34" charset="0"/>
            </a:endParaRPr>
          </a:p>
          <a:p>
            <a:pPr algn="just">
              <a:spcBef>
                <a:spcPts val="675"/>
              </a:spcBef>
            </a:pPr>
            <a:endParaRPr lang="es-PE" sz="1000" noProof="0" dirty="0">
              <a:latin typeface="Trebuchet MS" panose="020B0603020202020204" pitchFamily="34" charset="0"/>
              <a:ea typeface="Lato Light" panose="020F0502020204030203" pitchFamily="34" charset="0"/>
              <a:cs typeface="Lato Light" panose="020F0502020204030203" pitchFamily="34" charset="0"/>
            </a:endParaRPr>
          </a:p>
        </p:txBody>
      </p:sp>
      <p:sp>
        <p:nvSpPr>
          <p:cNvPr id="41" name="TextBox 61">
            <a:extLst>
              <a:ext uri="{FF2B5EF4-FFF2-40B4-BE49-F238E27FC236}">
                <a16:creationId xmlns:a16="http://schemas.microsoft.com/office/drawing/2014/main" id="{E952C702-FB40-8A4D-3E40-2EB820ECECE3}"/>
              </a:ext>
            </a:extLst>
          </p:cNvPr>
          <p:cNvSpPr txBox="1"/>
          <p:nvPr/>
        </p:nvSpPr>
        <p:spPr>
          <a:xfrm>
            <a:off x="3761610" y="1313778"/>
            <a:ext cx="2501048" cy="307778"/>
          </a:xfrm>
          <a:prstGeom prst="rect">
            <a:avLst/>
          </a:prstGeom>
          <a:noFill/>
        </p:spPr>
        <p:txBody>
          <a:bodyPr wrap="square" rtlCol="0" anchor="b">
            <a:spAutoFit/>
          </a:bodyPr>
          <a:lstStyle/>
          <a:p>
            <a:pPr algn="ctr"/>
            <a:r>
              <a:rPr lang="es-PE" sz="1400" b="1" noProof="0" dirty="0">
                <a:solidFill>
                  <a:schemeClr val="accent2"/>
                </a:solidFill>
                <a:latin typeface="Poppins" pitchFamily="2" charset="77"/>
                <a:cs typeface="Poppins" pitchFamily="2" charset="77"/>
              </a:rPr>
              <a:t>ESTÁNDARES</a:t>
            </a:r>
          </a:p>
        </p:txBody>
      </p:sp>
      <p:sp>
        <p:nvSpPr>
          <p:cNvPr id="60" name="TextBox 69">
            <a:extLst>
              <a:ext uri="{FF2B5EF4-FFF2-40B4-BE49-F238E27FC236}">
                <a16:creationId xmlns:a16="http://schemas.microsoft.com/office/drawing/2014/main" id="{5F5D7445-1338-22AB-D00C-3B04A7BBB6E6}"/>
              </a:ext>
            </a:extLst>
          </p:cNvPr>
          <p:cNvSpPr txBox="1"/>
          <p:nvPr/>
        </p:nvSpPr>
        <p:spPr>
          <a:xfrm>
            <a:off x="7063265" y="1360266"/>
            <a:ext cx="2501048" cy="307778"/>
          </a:xfrm>
          <a:prstGeom prst="rect">
            <a:avLst/>
          </a:prstGeom>
          <a:noFill/>
        </p:spPr>
        <p:txBody>
          <a:bodyPr wrap="square" rtlCol="0" anchor="b">
            <a:spAutoFit/>
          </a:bodyPr>
          <a:lstStyle/>
          <a:p>
            <a:pPr algn="ctr"/>
            <a:r>
              <a:rPr lang="es-PE" sz="1400" b="1" noProof="0" dirty="0">
                <a:solidFill>
                  <a:schemeClr val="accent4"/>
                </a:solidFill>
                <a:latin typeface="Poppins" pitchFamily="2" charset="77"/>
                <a:cs typeface="Poppins" pitchFamily="2" charset="77"/>
              </a:rPr>
              <a:t>FORMACIÓN Y CULTURA</a:t>
            </a:r>
          </a:p>
        </p:txBody>
      </p:sp>
      <p:sp>
        <p:nvSpPr>
          <p:cNvPr id="62" name="TextBox 72">
            <a:extLst>
              <a:ext uri="{FF2B5EF4-FFF2-40B4-BE49-F238E27FC236}">
                <a16:creationId xmlns:a16="http://schemas.microsoft.com/office/drawing/2014/main" id="{26737675-0742-69CB-4798-26D9BEBE2DEF}"/>
              </a:ext>
            </a:extLst>
          </p:cNvPr>
          <p:cNvSpPr txBox="1"/>
          <p:nvPr/>
        </p:nvSpPr>
        <p:spPr>
          <a:xfrm>
            <a:off x="5288124" y="5250510"/>
            <a:ext cx="2501048" cy="307778"/>
          </a:xfrm>
          <a:prstGeom prst="rect">
            <a:avLst/>
          </a:prstGeom>
          <a:noFill/>
        </p:spPr>
        <p:txBody>
          <a:bodyPr wrap="square" rtlCol="0" anchor="b">
            <a:spAutoFit/>
          </a:bodyPr>
          <a:lstStyle/>
          <a:p>
            <a:pPr algn="ctr"/>
            <a:r>
              <a:rPr lang="es-PE" sz="1400" b="1" noProof="0" dirty="0">
                <a:solidFill>
                  <a:srgbClr val="98002E"/>
                </a:solidFill>
                <a:latin typeface="Poppins" pitchFamily="2" charset="77"/>
                <a:cs typeface="Poppins" pitchFamily="2" charset="77"/>
              </a:rPr>
              <a:t>CLASIFICACIÓN</a:t>
            </a:r>
          </a:p>
        </p:txBody>
      </p:sp>
      <p:sp>
        <p:nvSpPr>
          <p:cNvPr id="63" name="TextBox 74">
            <a:extLst>
              <a:ext uri="{FF2B5EF4-FFF2-40B4-BE49-F238E27FC236}">
                <a16:creationId xmlns:a16="http://schemas.microsoft.com/office/drawing/2014/main" id="{20DAA9E7-382C-DC7B-98A3-EF7FBF42E8CD}"/>
              </a:ext>
            </a:extLst>
          </p:cNvPr>
          <p:cNvSpPr txBox="1"/>
          <p:nvPr/>
        </p:nvSpPr>
        <p:spPr>
          <a:xfrm>
            <a:off x="2016801" y="5252021"/>
            <a:ext cx="2501048" cy="2092881"/>
          </a:xfrm>
          <a:prstGeom prst="rect">
            <a:avLst/>
          </a:prstGeom>
          <a:noFill/>
        </p:spPr>
        <p:txBody>
          <a:bodyPr wrap="square" lIns="91440" tIns="45720" rIns="91440" bIns="45720" rtlCol="0" anchor="t">
            <a:spAutoFit/>
          </a:bodyPr>
          <a:lstStyle/>
          <a:p>
            <a:pPr marL="171450" indent="-171450" algn="just">
              <a:buFont typeface="Arial" panose="020B0604020202020204" pitchFamily="34" charset="0"/>
              <a:buChar char="•"/>
            </a:pPr>
            <a:r>
              <a:rPr lang="es-PE" sz="1000" dirty="0">
                <a:latin typeface="Trebuchet MS" panose="020B0603020202020204" pitchFamily="34" charset="0"/>
                <a:ea typeface="Lato Light" panose="020F0502020204030203" pitchFamily="34" charset="0"/>
                <a:cs typeface="Lato Light" panose="020F0502020204030203" pitchFamily="34" charset="0"/>
              </a:rPr>
              <a:t>Comité de Gobierno del Dato</a:t>
            </a:r>
            <a:endParaRPr lang="es-PE" sz="1000" noProof="0" dirty="0">
              <a:latin typeface="Trebuchet MS" panose="020B0603020202020204" pitchFamily="34" charset="0"/>
              <a:ea typeface="Lato Light" panose="020F0502020204030203" pitchFamily="34" charset="0"/>
              <a:cs typeface="Lato Light" panose="020F0502020204030203" pitchFamily="34" charset="0"/>
            </a:endParaRPr>
          </a:p>
          <a:p>
            <a:pPr marL="171450" indent="-171450" algn="just">
              <a:buFont typeface="Arial" panose="020B0604020202020204" pitchFamily="34" charset="0"/>
              <a:buChar char="•"/>
            </a:pPr>
            <a:r>
              <a:rPr lang="es-PE" sz="1000" dirty="0">
                <a:latin typeface="Trebuchet MS"/>
                <a:ea typeface="Lato Light"/>
                <a:cs typeface="Lato Light"/>
              </a:rPr>
              <a:t>Líder de Gobierno del Dato</a:t>
            </a:r>
          </a:p>
          <a:p>
            <a:pPr marL="171450" indent="-171450" algn="just">
              <a:buFont typeface="Arial" panose="020B0604020202020204" pitchFamily="34" charset="0"/>
              <a:buChar char="•"/>
            </a:pPr>
            <a:r>
              <a:rPr lang="es-PE" sz="1000" noProof="0" dirty="0" err="1">
                <a:latin typeface="Trebuchet MS" panose="020B0603020202020204" pitchFamily="34" charset="0"/>
                <a:ea typeface="Lato Light" panose="020F0502020204030203" pitchFamily="34" charset="0"/>
                <a:cs typeface="Lato Light" panose="020F0502020204030203" pitchFamily="34" charset="0"/>
              </a:rPr>
              <a:t>Domain</a:t>
            </a:r>
            <a:r>
              <a:rPr lang="es-PE" sz="1000" noProof="0" dirty="0">
                <a:latin typeface="Trebuchet MS" panose="020B0603020202020204" pitchFamily="34" charset="0"/>
                <a:ea typeface="Lato Light" panose="020F0502020204030203" pitchFamily="34" charset="0"/>
                <a:cs typeface="Lato Light" panose="020F0502020204030203" pitchFamily="34" charset="0"/>
              </a:rPr>
              <a:t> </a:t>
            </a:r>
            <a:r>
              <a:rPr lang="es-PE" sz="1000" noProof="0" dirty="0" err="1">
                <a:latin typeface="Trebuchet MS" panose="020B0603020202020204" pitchFamily="34" charset="0"/>
                <a:ea typeface="Lato Light" panose="020F0502020204030203" pitchFamily="34" charset="0"/>
                <a:cs typeface="Lato Light" panose="020F0502020204030203" pitchFamily="34" charset="0"/>
              </a:rPr>
              <a:t>Owner</a:t>
            </a:r>
            <a:endParaRPr lang="es-PE" sz="1000" noProof="0" dirty="0">
              <a:latin typeface="Trebuchet MS" panose="020B0603020202020204" pitchFamily="34" charset="0"/>
              <a:ea typeface="Lato Light" panose="020F0502020204030203" pitchFamily="34" charset="0"/>
              <a:cs typeface="Lato Light" panose="020F0502020204030203" pitchFamily="34" charset="0"/>
            </a:endParaRPr>
          </a:p>
          <a:p>
            <a:pPr marL="171450" indent="-171450" algn="just">
              <a:buFont typeface="Arial" panose="020B0604020202020204" pitchFamily="34" charset="0"/>
              <a:buChar char="•"/>
            </a:pPr>
            <a:r>
              <a:rPr lang="es-PE" sz="1000" dirty="0">
                <a:latin typeface="Trebuchet MS" panose="020B0603020202020204" pitchFamily="34" charset="0"/>
                <a:ea typeface="Lato Light" panose="020F0502020204030203" pitchFamily="34" charset="0"/>
                <a:cs typeface="Lato Light" panose="020F0502020204030203" pitchFamily="34" charset="0"/>
              </a:rPr>
              <a:t>Data </a:t>
            </a:r>
            <a:r>
              <a:rPr lang="es-PE" sz="1000" dirty="0" err="1">
                <a:latin typeface="Trebuchet MS" panose="020B0603020202020204" pitchFamily="34" charset="0"/>
                <a:ea typeface="Lato Light" panose="020F0502020204030203" pitchFamily="34" charset="0"/>
                <a:cs typeface="Lato Light" panose="020F0502020204030203" pitchFamily="34" charset="0"/>
              </a:rPr>
              <a:t>Owner</a:t>
            </a:r>
            <a:endParaRPr lang="es-PE" sz="1000" dirty="0">
              <a:latin typeface="Trebuchet MS" panose="020B0603020202020204" pitchFamily="34" charset="0"/>
              <a:ea typeface="Lato Light" panose="020F0502020204030203" pitchFamily="34" charset="0"/>
              <a:cs typeface="Lato Light" panose="020F0502020204030203" pitchFamily="34" charset="0"/>
            </a:endParaRPr>
          </a:p>
          <a:p>
            <a:pPr marL="171450" indent="-171450" algn="just">
              <a:buFont typeface="Arial" panose="020B0604020202020204" pitchFamily="34" charset="0"/>
              <a:buChar char="•"/>
            </a:pPr>
            <a:r>
              <a:rPr lang="es-PE" sz="1000" noProof="0" dirty="0">
                <a:latin typeface="Trebuchet MS" panose="020B0603020202020204" pitchFamily="34" charset="0"/>
                <a:ea typeface="Lato Light" panose="020F0502020204030203" pitchFamily="34" charset="0"/>
                <a:cs typeface="Lato Light" panose="020F0502020204030203" pitchFamily="34" charset="0"/>
              </a:rPr>
              <a:t>Data Steward</a:t>
            </a:r>
          </a:p>
          <a:p>
            <a:pPr marL="171450" indent="-171450" algn="just">
              <a:buFont typeface="Arial" panose="020B0604020202020204" pitchFamily="34" charset="0"/>
              <a:buChar char="•"/>
            </a:pPr>
            <a:r>
              <a:rPr lang="es-PE" sz="1000" dirty="0">
                <a:latin typeface="Trebuchet MS" panose="020B0603020202020204" pitchFamily="34" charset="0"/>
                <a:ea typeface="Lato Light" panose="020F0502020204030203" pitchFamily="34" charset="0"/>
                <a:cs typeface="Lato Light" panose="020F0502020204030203" pitchFamily="34" charset="0"/>
              </a:rPr>
              <a:t>Analista de Diseño del Dato</a:t>
            </a:r>
          </a:p>
          <a:p>
            <a:pPr marL="171450" indent="-171450" algn="just">
              <a:buFont typeface="Arial" panose="020B0604020202020204" pitchFamily="34" charset="0"/>
              <a:buChar char="•"/>
            </a:pPr>
            <a:r>
              <a:rPr lang="es-PE" sz="1000" noProof="0" dirty="0">
                <a:latin typeface="Trebuchet MS" panose="020B0603020202020204" pitchFamily="34" charset="0"/>
                <a:ea typeface="Lato Light" panose="020F0502020204030203" pitchFamily="34" charset="0"/>
                <a:cs typeface="Lato Light" panose="020F0502020204030203" pitchFamily="34" charset="0"/>
              </a:rPr>
              <a:t>Analista de Calidad y Seguridad</a:t>
            </a:r>
          </a:p>
          <a:p>
            <a:pPr marL="171450" indent="-171450" algn="just">
              <a:buFont typeface="Arial" panose="020B0604020202020204" pitchFamily="34" charset="0"/>
              <a:buChar char="•"/>
            </a:pPr>
            <a:r>
              <a:rPr lang="es-PE" sz="1000" noProof="0" dirty="0">
                <a:latin typeface="Trebuchet MS" panose="020B0603020202020204" pitchFamily="34" charset="0"/>
                <a:ea typeface="Lato Light" panose="020F0502020204030203" pitchFamily="34" charset="0"/>
                <a:cs typeface="Lato Light" panose="020F0502020204030203" pitchFamily="34" charset="0"/>
              </a:rPr>
              <a:t>Analista </a:t>
            </a:r>
            <a:r>
              <a:rPr lang="es-PE" sz="1000" noProof="0" dirty="0" err="1">
                <a:latin typeface="Trebuchet MS" panose="020B0603020202020204" pitchFamily="34" charset="0"/>
                <a:ea typeface="Lato Light" panose="020F0502020204030203" pitchFamily="34" charset="0"/>
                <a:cs typeface="Lato Light" panose="020F0502020204030203" pitchFamily="34" charset="0"/>
              </a:rPr>
              <a:t>Purview</a:t>
            </a:r>
            <a:endParaRPr lang="es-PE" sz="1000" noProof="0" dirty="0">
              <a:latin typeface="Trebuchet MS" panose="020B0603020202020204" pitchFamily="34" charset="0"/>
              <a:ea typeface="Lato Light" panose="020F0502020204030203" pitchFamily="34" charset="0"/>
              <a:cs typeface="Lato Light" panose="020F0502020204030203" pitchFamily="34" charset="0"/>
            </a:endParaRPr>
          </a:p>
          <a:p>
            <a:pPr marL="171450" indent="-171450" algn="just">
              <a:buFont typeface="Arial" panose="020B0604020202020204" pitchFamily="34" charset="0"/>
              <a:buChar char="•"/>
            </a:pPr>
            <a:r>
              <a:rPr lang="es-PE" sz="1000" dirty="0">
                <a:latin typeface="Trebuchet MS" panose="020B0603020202020204" pitchFamily="34" charset="0"/>
                <a:ea typeface="Lato Light" panose="020F0502020204030203" pitchFamily="34" charset="0"/>
                <a:cs typeface="Lato Light" panose="020F0502020204030203" pitchFamily="34" charset="0"/>
              </a:rPr>
              <a:t>Data </a:t>
            </a:r>
            <a:r>
              <a:rPr lang="es-PE" sz="1000" dirty="0" err="1">
                <a:latin typeface="Trebuchet MS" panose="020B0603020202020204" pitchFamily="34" charset="0"/>
                <a:ea typeface="Lato Light" panose="020F0502020204030203" pitchFamily="34" charset="0"/>
                <a:cs typeface="Lato Light" panose="020F0502020204030203" pitchFamily="34" charset="0"/>
              </a:rPr>
              <a:t>Engineer</a:t>
            </a:r>
            <a:endParaRPr lang="es-PE" sz="1000" dirty="0">
              <a:latin typeface="Trebuchet MS" panose="020B0603020202020204" pitchFamily="34" charset="0"/>
              <a:ea typeface="Lato Light" panose="020F0502020204030203" pitchFamily="34" charset="0"/>
              <a:cs typeface="Lato Light" panose="020F0502020204030203" pitchFamily="34" charset="0"/>
            </a:endParaRPr>
          </a:p>
          <a:p>
            <a:pPr marL="171450" indent="-171450" algn="just">
              <a:buFont typeface="Arial" panose="020B0604020202020204" pitchFamily="34" charset="0"/>
              <a:buChar char="•"/>
            </a:pPr>
            <a:r>
              <a:rPr lang="es-PE" sz="1000" b="1" dirty="0">
                <a:solidFill>
                  <a:srgbClr val="FF0000"/>
                </a:solidFill>
                <a:latin typeface="Trebuchet MS"/>
                <a:ea typeface="Lato Light"/>
                <a:cs typeface="Lato Light"/>
              </a:rPr>
              <a:t>Data Custodian SAP</a:t>
            </a:r>
            <a:endParaRPr lang="es-PE" sz="1000" b="1" noProof="0">
              <a:solidFill>
                <a:srgbClr val="FF0000"/>
              </a:solidFill>
              <a:latin typeface="Trebuchet MS" panose="020B0603020202020204" pitchFamily="34" charset="0"/>
              <a:ea typeface="Lato Light" panose="020F0502020204030203" pitchFamily="34" charset="0"/>
              <a:cs typeface="Lato Light" panose="020F0502020204030203" pitchFamily="34" charset="0"/>
            </a:endParaRPr>
          </a:p>
          <a:p>
            <a:pPr marL="171450" indent="-171450" algn="just">
              <a:buFont typeface="Arial" panose="020B0604020202020204" pitchFamily="34" charset="0"/>
              <a:buChar char="•"/>
            </a:pPr>
            <a:r>
              <a:rPr lang="es-PE" sz="1000" b="1" dirty="0">
                <a:solidFill>
                  <a:srgbClr val="FF0000"/>
                </a:solidFill>
                <a:latin typeface="Trebuchet MS"/>
                <a:ea typeface="Lato Light"/>
                <a:cs typeface="Lato Light"/>
              </a:rPr>
              <a:t>Arquitecto del Dato SAP</a:t>
            </a:r>
            <a:endParaRPr lang="es-PE" sz="1000" noProof="0" dirty="0">
              <a:solidFill>
                <a:srgbClr val="FF0000"/>
              </a:solidFill>
              <a:latin typeface="Trebuchet MS" panose="020B0603020202020204" pitchFamily="34" charset="0"/>
              <a:ea typeface="Lato Light" panose="020F0502020204030203" pitchFamily="34" charset="0"/>
              <a:cs typeface="Lato Light" panose="020F0502020204030203" pitchFamily="34" charset="0"/>
            </a:endParaRPr>
          </a:p>
          <a:p>
            <a:pPr marL="171450" indent="-171450" algn="just">
              <a:buFont typeface="Arial" panose="020B0604020202020204" pitchFamily="34" charset="0"/>
              <a:buChar char="•"/>
            </a:pPr>
            <a:endParaRPr lang="es-PE" sz="1000" dirty="0">
              <a:latin typeface="Trebuchet MS" panose="020B0603020202020204" pitchFamily="34" charset="0"/>
              <a:ea typeface="Lato Light" panose="020F0502020204030203" pitchFamily="34" charset="0"/>
              <a:cs typeface="Lato Light" panose="020F0502020204030203" pitchFamily="34" charset="0"/>
            </a:endParaRPr>
          </a:p>
          <a:p>
            <a:pPr marL="171450" indent="-171450" algn="just">
              <a:buFont typeface="Arial" panose="020B0604020202020204" pitchFamily="34" charset="0"/>
              <a:buChar char="•"/>
            </a:pPr>
            <a:endParaRPr lang="es-PE" sz="1000" dirty="0">
              <a:latin typeface="Trebuchet MS" panose="020B0603020202020204" pitchFamily="34" charset="0"/>
              <a:ea typeface="Lato Light" panose="020F0502020204030203" pitchFamily="34" charset="0"/>
              <a:cs typeface="Lato Light" panose="020F0502020204030203" pitchFamily="34" charset="0"/>
            </a:endParaRPr>
          </a:p>
        </p:txBody>
      </p:sp>
      <p:sp>
        <p:nvSpPr>
          <p:cNvPr id="64" name="TextBox 75">
            <a:extLst>
              <a:ext uri="{FF2B5EF4-FFF2-40B4-BE49-F238E27FC236}">
                <a16:creationId xmlns:a16="http://schemas.microsoft.com/office/drawing/2014/main" id="{1D0BC510-5341-B0E8-3243-CACC43B7C16A}"/>
              </a:ext>
            </a:extLst>
          </p:cNvPr>
          <p:cNvSpPr txBox="1"/>
          <p:nvPr/>
        </p:nvSpPr>
        <p:spPr>
          <a:xfrm>
            <a:off x="1848916" y="4994399"/>
            <a:ext cx="2710877" cy="307777"/>
          </a:xfrm>
          <a:prstGeom prst="rect">
            <a:avLst/>
          </a:prstGeom>
          <a:noFill/>
        </p:spPr>
        <p:txBody>
          <a:bodyPr wrap="square" rtlCol="0" anchor="b">
            <a:spAutoFit/>
          </a:bodyPr>
          <a:lstStyle/>
          <a:p>
            <a:pPr algn="ctr"/>
            <a:r>
              <a:rPr lang="es-PE" sz="1400" b="1" noProof="0" dirty="0">
                <a:solidFill>
                  <a:schemeClr val="accent1"/>
                </a:solidFill>
                <a:latin typeface="Poppins" pitchFamily="2" charset="77"/>
                <a:cs typeface="Poppins" pitchFamily="2" charset="77"/>
              </a:rPr>
              <a:t>ESTRUCTURA DE GOBIERNO</a:t>
            </a:r>
          </a:p>
        </p:txBody>
      </p:sp>
      <p:sp>
        <p:nvSpPr>
          <p:cNvPr id="67" name="TextBox 79">
            <a:extLst>
              <a:ext uri="{FF2B5EF4-FFF2-40B4-BE49-F238E27FC236}">
                <a16:creationId xmlns:a16="http://schemas.microsoft.com/office/drawing/2014/main" id="{D614FC1A-779F-878C-18BD-268CC68E4644}"/>
              </a:ext>
            </a:extLst>
          </p:cNvPr>
          <p:cNvSpPr txBox="1"/>
          <p:nvPr/>
        </p:nvSpPr>
        <p:spPr>
          <a:xfrm>
            <a:off x="4046085" y="3427227"/>
            <a:ext cx="300084" cy="461665"/>
          </a:xfrm>
          <a:prstGeom prst="rect">
            <a:avLst/>
          </a:prstGeom>
          <a:noFill/>
        </p:spPr>
        <p:txBody>
          <a:bodyPr wrap="none" rtlCol="0" anchor="ctr">
            <a:spAutoFit/>
          </a:bodyPr>
          <a:lstStyle/>
          <a:p>
            <a:pPr algn="ctr"/>
            <a:r>
              <a:rPr lang="es-PE" sz="2400" b="1" noProof="0" dirty="0">
                <a:solidFill>
                  <a:schemeClr val="bg1"/>
                </a:solidFill>
                <a:latin typeface="Poppins" pitchFamily="2" charset="77"/>
                <a:cs typeface="Poppins" pitchFamily="2" charset="77"/>
              </a:rPr>
              <a:t>1</a:t>
            </a:r>
          </a:p>
        </p:txBody>
      </p:sp>
      <p:sp>
        <p:nvSpPr>
          <p:cNvPr id="68" name="TextBox 80">
            <a:extLst>
              <a:ext uri="{FF2B5EF4-FFF2-40B4-BE49-F238E27FC236}">
                <a16:creationId xmlns:a16="http://schemas.microsoft.com/office/drawing/2014/main" id="{3293E76E-5D7D-A6AC-EAB5-281674883224}"/>
              </a:ext>
            </a:extLst>
          </p:cNvPr>
          <p:cNvSpPr txBox="1"/>
          <p:nvPr/>
        </p:nvSpPr>
        <p:spPr>
          <a:xfrm>
            <a:off x="5658781" y="3427227"/>
            <a:ext cx="360996" cy="461665"/>
          </a:xfrm>
          <a:prstGeom prst="rect">
            <a:avLst/>
          </a:prstGeom>
          <a:noFill/>
        </p:spPr>
        <p:txBody>
          <a:bodyPr wrap="none" rtlCol="0" anchor="ctr">
            <a:spAutoFit/>
          </a:bodyPr>
          <a:lstStyle/>
          <a:p>
            <a:pPr algn="ctr"/>
            <a:r>
              <a:rPr lang="es-PE" sz="2400" b="1" noProof="0" dirty="0">
                <a:solidFill>
                  <a:schemeClr val="bg1"/>
                </a:solidFill>
                <a:latin typeface="Poppins" pitchFamily="2" charset="77"/>
                <a:cs typeface="Poppins" pitchFamily="2" charset="77"/>
              </a:rPr>
              <a:t>2</a:t>
            </a:r>
          </a:p>
        </p:txBody>
      </p:sp>
      <p:sp>
        <p:nvSpPr>
          <p:cNvPr id="69" name="TextBox 81">
            <a:extLst>
              <a:ext uri="{FF2B5EF4-FFF2-40B4-BE49-F238E27FC236}">
                <a16:creationId xmlns:a16="http://schemas.microsoft.com/office/drawing/2014/main" id="{E0D5F9BD-A7AB-DB9F-134C-0A6B484BE8A5}"/>
              </a:ext>
            </a:extLst>
          </p:cNvPr>
          <p:cNvSpPr txBox="1"/>
          <p:nvPr/>
        </p:nvSpPr>
        <p:spPr>
          <a:xfrm>
            <a:off x="7313819" y="3427227"/>
            <a:ext cx="370614" cy="461665"/>
          </a:xfrm>
          <a:prstGeom prst="rect">
            <a:avLst/>
          </a:prstGeom>
          <a:noFill/>
        </p:spPr>
        <p:txBody>
          <a:bodyPr wrap="none" rtlCol="0" anchor="ctr">
            <a:spAutoFit/>
          </a:bodyPr>
          <a:lstStyle/>
          <a:p>
            <a:pPr algn="ctr"/>
            <a:r>
              <a:rPr lang="es-PE" sz="2400" b="1" noProof="0" dirty="0">
                <a:solidFill>
                  <a:schemeClr val="bg1"/>
                </a:solidFill>
                <a:latin typeface="Poppins" pitchFamily="2" charset="77"/>
                <a:cs typeface="Poppins" pitchFamily="2" charset="77"/>
              </a:rPr>
              <a:t>3</a:t>
            </a:r>
          </a:p>
        </p:txBody>
      </p:sp>
      <p:sp>
        <p:nvSpPr>
          <p:cNvPr id="70" name="TextBox 82">
            <a:extLst>
              <a:ext uri="{FF2B5EF4-FFF2-40B4-BE49-F238E27FC236}">
                <a16:creationId xmlns:a16="http://schemas.microsoft.com/office/drawing/2014/main" id="{EFF6161E-3BAD-B043-1F11-9F16CAC66B13}"/>
              </a:ext>
            </a:extLst>
          </p:cNvPr>
          <p:cNvSpPr txBox="1"/>
          <p:nvPr/>
        </p:nvSpPr>
        <p:spPr>
          <a:xfrm>
            <a:off x="8935833" y="3427227"/>
            <a:ext cx="393056" cy="461665"/>
          </a:xfrm>
          <a:prstGeom prst="rect">
            <a:avLst/>
          </a:prstGeom>
          <a:noFill/>
        </p:spPr>
        <p:txBody>
          <a:bodyPr wrap="none" rtlCol="0" anchor="ctr">
            <a:spAutoFit/>
          </a:bodyPr>
          <a:lstStyle/>
          <a:p>
            <a:pPr algn="ctr"/>
            <a:r>
              <a:rPr lang="es-PE" sz="2400" b="1" noProof="0" dirty="0">
                <a:solidFill>
                  <a:schemeClr val="bg1"/>
                </a:solidFill>
                <a:latin typeface="Poppins" pitchFamily="2" charset="77"/>
                <a:cs typeface="Poppins" pitchFamily="2" charset="77"/>
              </a:rPr>
              <a:t>4</a:t>
            </a:r>
          </a:p>
        </p:txBody>
      </p:sp>
      <p:sp>
        <p:nvSpPr>
          <p:cNvPr id="71" name="TextBox 83">
            <a:extLst>
              <a:ext uri="{FF2B5EF4-FFF2-40B4-BE49-F238E27FC236}">
                <a16:creationId xmlns:a16="http://schemas.microsoft.com/office/drawing/2014/main" id="{B94EB3D0-2DC7-1796-FB34-78267C7AE908}"/>
              </a:ext>
            </a:extLst>
          </p:cNvPr>
          <p:cNvSpPr txBox="1"/>
          <p:nvPr/>
        </p:nvSpPr>
        <p:spPr>
          <a:xfrm>
            <a:off x="9615342" y="3447278"/>
            <a:ext cx="385042" cy="461665"/>
          </a:xfrm>
          <a:prstGeom prst="rect">
            <a:avLst/>
          </a:prstGeom>
          <a:noFill/>
        </p:spPr>
        <p:txBody>
          <a:bodyPr wrap="none" rtlCol="0" anchor="ctr">
            <a:spAutoFit/>
          </a:bodyPr>
          <a:lstStyle/>
          <a:p>
            <a:pPr algn="ctr"/>
            <a:r>
              <a:rPr lang="es-PE" sz="2400" b="1" noProof="0" dirty="0">
                <a:solidFill>
                  <a:schemeClr val="bg1"/>
                </a:solidFill>
                <a:latin typeface="Poppins" pitchFamily="2" charset="77"/>
                <a:cs typeface="Poppins" pitchFamily="2" charset="77"/>
              </a:rPr>
              <a:t>5</a:t>
            </a:r>
          </a:p>
        </p:txBody>
      </p:sp>
      <p:sp>
        <p:nvSpPr>
          <p:cNvPr id="73" name="TextBox 75">
            <a:hlinkClick r:id="rId9" action="ppaction://hlinkpres?slideindex=1&amp;slidetitle="/>
            <a:extLst>
              <a:ext uri="{FF2B5EF4-FFF2-40B4-BE49-F238E27FC236}">
                <a16:creationId xmlns:a16="http://schemas.microsoft.com/office/drawing/2014/main" id="{EFDD32F0-6B39-0A21-F7C7-5DC14B15D782}"/>
              </a:ext>
            </a:extLst>
          </p:cNvPr>
          <p:cNvSpPr txBox="1"/>
          <p:nvPr/>
        </p:nvSpPr>
        <p:spPr>
          <a:xfrm>
            <a:off x="2559308" y="3888892"/>
            <a:ext cx="1763695" cy="430887"/>
          </a:xfrm>
          <a:prstGeom prst="rect">
            <a:avLst/>
          </a:prstGeom>
          <a:noFill/>
        </p:spPr>
        <p:txBody>
          <a:bodyPr wrap="square" rtlCol="0" anchor="b">
            <a:spAutoFit/>
          </a:bodyPr>
          <a:lstStyle/>
          <a:p>
            <a:pPr algn="ctr"/>
            <a:r>
              <a:rPr lang="es-PE" sz="1100" b="1" noProof="0" dirty="0">
                <a:solidFill>
                  <a:schemeClr val="bg1">
                    <a:lumMod val="95000"/>
                  </a:schemeClr>
                </a:solidFill>
                <a:latin typeface="Poppins" pitchFamily="2" charset="77"/>
                <a:cs typeface="Poppins" pitchFamily="2" charset="77"/>
              </a:rPr>
              <a:t>Roles y Responsabilidades</a:t>
            </a:r>
          </a:p>
        </p:txBody>
      </p:sp>
      <p:sp>
        <p:nvSpPr>
          <p:cNvPr id="74" name="TextBox 75">
            <a:extLst>
              <a:ext uri="{FF2B5EF4-FFF2-40B4-BE49-F238E27FC236}">
                <a16:creationId xmlns:a16="http://schemas.microsoft.com/office/drawing/2014/main" id="{7267EB15-F829-BA75-8B41-08F949DD87B2}"/>
              </a:ext>
            </a:extLst>
          </p:cNvPr>
          <p:cNvSpPr txBox="1"/>
          <p:nvPr/>
        </p:nvSpPr>
        <p:spPr>
          <a:xfrm>
            <a:off x="4441335" y="3873502"/>
            <a:ext cx="1401851" cy="461665"/>
          </a:xfrm>
          <a:prstGeom prst="rect">
            <a:avLst/>
          </a:prstGeom>
          <a:noFill/>
        </p:spPr>
        <p:txBody>
          <a:bodyPr wrap="square" rtlCol="0" anchor="b">
            <a:spAutoFit/>
          </a:bodyPr>
          <a:lstStyle/>
          <a:p>
            <a:pPr algn="ctr"/>
            <a:r>
              <a:rPr lang="es-PE" sz="1200" b="1" noProof="0" dirty="0">
                <a:solidFill>
                  <a:schemeClr val="bg1">
                    <a:lumMod val="95000"/>
                  </a:schemeClr>
                </a:solidFill>
                <a:latin typeface="Poppins" pitchFamily="2" charset="77"/>
                <a:cs typeface="Poppins" pitchFamily="2" charset="77"/>
              </a:rPr>
              <a:t>Calidad de Datos</a:t>
            </a:r>
          </a:p>
        </p:txBody>
      </p:sp>
      <p:sp>
        <p:nvSpPr>
          <p:cNvPr id="75" name="TextBox 75">
            <a:extLst>
              <a:ext uri="{FF2B5EF4-FFF2-40B4-BE49-F238E27FC236}">
                <a16:creationId xmlns:a16="http://schemas.microsoft.com/office/drawing/2014/main" id="{F42BFEDA-CDFC-4635-BBF1-D8F5EFBE1EDA}"/>
              </a:ext>
            </a:extLst>
          </p:cNvPr>
          <p:cNvSpPr txBox="1"/>
          <p:nvPr/>
        </p:nvSpPr>
        <p:spPr>
          <a:xfrm>
            <a:off x="6107296" y="3870638"/>
            <a:ext cx="1521878" cy="461665"/>
          </a:xfrm>
          <a:prstGeom prst="rect">
            <a:avLst/>
          </a:prstGeom>
          <a:noFill/>
        </p:spPr>
        <p:txBody>
          <a:bodyPr wrap="square" rtlCol="0" anchor="b">
            <a:spAutoFit/>
          </a:bodyPr>
          <a:lstStyle/>
          <a:p>
            <a:pPr algn="ctr"/>
            <a:r>
              <a:rPr lang="es-PE" sz="1200" b="1" noProof="0" dirty="0">
                <a:solidFill>
                  <a:schemeClr val="bg1">
                    <a:lumMod val="95000"/>
                  </a:schemeClr>
                </a:solidFill>
                <a:latin typeface="Poppins" pitchFamily="2" charset="77"/>
                <a:cs typeface="Poppins" pitchFamily="2" charset="77"/>
              </a:rPr>
              <a:t>Seguridad de Datos</a:t>
            </a:r>
          </a:p>
        </p:txBody>
      </p:sp>
      <p:sp>
        <p:nvSpPr>
          <p:cNvPr id="76" name="TextBox 75">
            <a:extLst>
              <a:ext uri="{FF2B5EF4-FFF2-40B4-BE49-F238E27FC236}">
                <a16:creationId xmlns:a16="http://schemas.microsoft.com/office/drawing/2014/main" id="{0C105E8A-C7FC-6612-9689-689E3A5FD628}"/>
              </a:ext>
            </a:extLst>
          </p:cNvPr>
          <p:cNvSpPr txBox="1"/>
          <p:nvPr/>
        </p:nvSpPr>
        <p:spPr>
          <a:xfrm>
            <a:off x="7625732" y="4070996"/>
            <a:ext cx="1438162" cy="276999"/>
          </a:xfrm>
          <a:prstGeom prst="rect">
            <a:avLst/>
          </a:prstGeom>
          <a:noFill/>
        </p:spPr>
        <p:txBody>
          <a:bodyPr wrap="square" rtlCol="0" anchor="b">
            <a:spAutoFit/>
          </a:bodyPr>
          <a:lstStyle/>
          <a:p>
            <a:pPr algn="ctr"/>
            <a:r>
              <a:rPr lang="es-PE" sz="1200" b="1" noProof="0" dirty="0">
                <a:solidFill>
                  <a:schemeClr val="bg1">
                    <a:lumMod val="95000"/>
                  </a:schemeClr>
                </a:solidFill>
                <a:latin typeface="Poppins" pitchFamily="2" charset="77"/>
                <a:cs typeface="Poppins" pitchFamily="2" charset="77"/>
              </a:rPr>
              <a:t>Capacitaciones</a:t>
            </a:r>
          </a:p>
        </p:txBody>
      </p:sp>
      <p:sp>
        <p:nvSpPr>
          <p:cNvPr id="78" name="TextBox 77">
            <a:extLst>
              <a:ext uri="{FF2B5EF4-FFF2-40B4-BE49-F238E27FC236}">
                <a16:creationId xmlns:a16="http://schemas.microsoft.com/office/drawing/2014/main" id="{8C208740-BFE4-1680-580E-6CC3276F25EF}"/>
              </a:ext>
            </a:extLst>
          </p:cNvPr>
          <p:cNvSpPr txBox="1"/>
          <p:nvPr/>
        </p:nvSpPr>
        <p:spPr>
          <a:xfrm>
            <a:off x="5288124" y="5652284"/>
            <a:ext cx="2501048" cy="727700"/>
          </a:xfrm>
          <a:prstGeom prst="rect">
            <a:avLst/>
          </a:prstGeom>
          <a:noFill/>
        </p:spPr>
        <p:txBody>
          <a:bodyPr wrap="square" rtlCol="0" anchor="t">
            <a:spAutoFit/>
          </a:bodyPr>
          <a:lstStyle/>
          <a:p>
            <a:pPr algn="just">
              <a:lnSpc>
                <a:spcPts val="700"/>
              </a:lnSpc>
              <a:spcBef>
                <a:spcPts val="675"/>
              </a:spcBef>
            </a:pPr>
            <a:r>
              <a:rPr lang="es-PE" sz="1000" noProof="0" dirty="0">
                <a:latin typeface="Trebuchet MS" panose="020B0603020202020204" pitchFamily="34" charset="0"/>
                <a:ea typeface="Lato Light" panose="020F0502020204030203" pitchFamily="34" charset="0"/>
                <a:cs typeface="Lato Light" panose="020F0502020204030203" pitchFamily="34" charset="0"/>
              </a:rPr>
              <a:t>Clasificación de datos por categorías:</a:t>
            </a:r>
          </a:p>
          <a:p>
            <a:pPr marL="171450" indent="-171450" algn="just">
              <a:lnSpc>
                <a:spcPts val="700"/>
              </a:lnSpc>
              <a:spcBef>
                <a:spcPts val="675"/>
              </a:spcBef>
              <a:buFont typeface="Arial" panose="020B0604020202020204" pitchFamily="34" charset="0"/>
              <a:buChar char="•"/>
            </a:pPr>
            <a:r>
              <a:rPr lang="es-PE" sz="1000" dirty="0">
                <a:latin typeface="Trebuchet MS" panose="020B0603020202020204" pitchFamily="34" charset="0"/>
                <a:ea typeface="Lato Light" panose="020F0502020204030203" pitchFamily="34" charset="0"/>
                <a:cs typeface="Lato Light" panose="020F0502020204030203" pitchFamily="34" charset="0"/>
              </a:rPr>
              <a:t>Confidencial</a:t>
            </a:r>
          </a:p>
          <a:p>
            <a:pPr marL="171450" indent="-171450" algn="just">
              <a:lnSpc>
                <a:spcPts val="700"/>
              </a:lnSpc>
              <a:spcBef>
                <a:spcPts val="675"/>
              </a:spcBef>
              <a:buFont typeface="Arial" panose="020B0604020202020204" pitchFamily="34" charset="0"/>
              <a:buChar char="•"/>
            </a:pPr>
            <a:r>
              <a:rPr lang="es-PE" sz="1000" noProof="0" dirty="0">
                <a:latin typeface="Trebuchet MS" panose="020B0603020202020204" pitchFamily="34" charset="0"/>
                <a:ea typeface="Lato Light" panose="020F0502020204030203" pitchFamily="34" charset="0"/>
                <a:cs typeface="Lato Light" panose="020F0502020204030203" pitchFamily="34" charset="0"/>
              </a:rPr>
              <a:t>Interno</a:t>
            </a:r>
          </a:p>
          <a:p>
            <a:pPr marL="171450" indent="-171450" algn="just">
              <a:lnSpc>
                <a:spcPts val="700"/>
              </a:lnSpc>
              <a:spcBef>
                <a:spcPts val="675"/>
              </a:spcBef>
              <a:buFont typeface="Arial" panose="020B0604020202020204" pitchFamily="34" charset="0"/>
              <a:buChar char="•"/>
            </a:pPr>
            <a:r>
              <a:rPr lang="es-PE" sz="1000" dirty="0">
                <a:latin typeface="Trebuchet MS" panose="020B0603020202020204" pitchFamily="34" charset="0"/>
                <a:ea typeface="Lato Light" panose="020F0502020204030203" pitchFamily="34" charset="0"/>
                <a:cs typeface="Lato Light" panose="020F0502020204030203" pitchFamily="34" charset="0"/>
              </a:rPr>
              <a:t>Público</a:t>
            </a:r>
            <a:endParaRPr lang="es-PE" sz="1000" noProof="0" dirty="0">
              <a:latin typeface="Trebuchet MS" panose="020B0603020202020204" pitchFamily="34" charset="0"/>
              <a:ea typeface="Lato Light" panose="020F0502020204030203" pitchFamily="34" charset="0"/>
              <a:cs typeface="Lato Light" panose="020F0502020204030203" pitchFamily="34" charset="0"/>
            </a:endParaRPr>
          </a:p>
        </p:txBody>
      </p:sp>
      <p:sp>
        <p:nvSpPr>
          <p:cNvPr id="5" name="TextBox 60">
            <a:extLst>
              <a:ext uri="{FF2B5EF4-FFF2-40B4-BE49-F238E27FC236}">
                <a16:creationId xmlns:a16="http://schemas.microsoft.com/office/drawing/2014/main" id="{FCBCE0D2-0A86-90E7-F77C-141FA2A62D10}"/>
              </a:ext>
            </a:extLst>
          </p:cNvPr>
          <p:cNvSpPr txBox="1"/>
          <p:nvPr/>
        </p:nvSpPr>
        <p:spPr>
          <a:xfrm>
            <a:off x="7151682" y="1721247"/>
            <a:ext cx="2324215" cy="400110"/>
          </a:xfrm>
          <a:prstGeom prst="rect">
            <a:avLst/>
          </a:prstGeom>
          <a:noFill/>
        </p:spPr>
        <p:txBody>
          <a:bodyPr wrap="square" rtlCol="0" anchor="t">
            <a:spAutoFit/>
          </a:bodyPr>
          <a:lstStyle/>
          <a:p>
            <a:pPr algn="just">
              <a:spcBef>
                <a:spcPts val="675"/>
              </a:spcBef>
            </a:pPr>
            <a:r>
              <a:rPr lang="es-ES" sz="1000" dirty="0">
                <a:latin typeface="Trebuchet MS" panose="020B0603020202020204" pitchFamily="34" charset="0"/>
                <a:ea typeface="Lato Light" panose="020F0502020204030203" pitchFamily="34" charset="0"/>
                <a:cs typeface="Lato Light" panose="020F0502020204030203" pitchFamily="34" charset="0"/>
              </a:rPr>
              <a:t>C</a:t>
            </a:r>
            <a:r>
              <a:rPr lang="es-PE" sz="1000" dirty="0">
                <a:latin typeface="Trebuchet MS" panose="020B0603020202020204" pitchFamily="34" charset="0"/>
                <a:ea typeface="Lato Light" panose="020F0502020204030203" pitchFamily="34" charset="0"/>
                <a:cs typeface="Lato Light" panose="020F0502020204030203" pitchFamily="34" charset="0"/>
              </a:rPr>
              <a:t>apacitación específica por rol y responsabilidad</a:t>
            </a:r>
            <a:endParaRPr lang="es-PE" sz="1000" noProof="0" dirty="0">
              <a:latin typeface="Trebuchet MS" panose="020B0603020202020204" pitchFamily="34" charset="0"/>
              <a:ea typeface="Lato Light" panose="020F0502020204030203" pitchFamily="34" charset="0"/>
              <a:cs typeface="Lato Light" panose="020F0502020204030203" pitchFamily="34" charset="0"/>
            </a:endParaRPr>
          </a:p>
        </p:txBody>
      </p:sp>
      <p:sp>
        <p:nvSpPr>
          <p:cNvPr id="8" name="CuadroTexto 7">
            <a:extLst>
              <a:ext uri="{FF2B5EF4-FFF2-40B4-BE49-F238E27FC236}">
                <a16:creationId xmlns:a16="http://schemas.microsoft.com/office/drawing/2014/main" id="{86361D6D-BB31-AECA-2A2C-21BB42F183B1}"/>
              </a:ext>
            </a:extLst>
          </p:cNvPr>
          <p:cNvSpPr txBox="1"/>
          <p:nvPr/>
        </p:nvSpPr>
        <p:spPr>
          <a:xfrm>
            <a:off x="6617862" y="6559791"/>
            <a:ext cx="5716070" cy="261610"/>
          </a:xfrm>
          <a:prstGeom prst="rect">
            <a:avLst/>
          </a:prstGeom>
          <a:noFill/>
        </p:spPr>
        <p:txBody>
          <a:bodyPr wrap="square" rtlCol="0">
            <a:spAutoFit/>
          </a:bodyPr>
          <a:lstStyle/>
          <a:p>
            <a:r>
              <a:rPr lang="es-ES" sz="1100" b="1" dirty="0"/>
              <a:t>Doc. De Referencia: DG-POL-PCGD-MINS-001-Política Corporativo Gobierno de Datos v1.0</a:t>
            </a:r>
            <a:endParaRPr lang="es-PE" sz="1100" b="1" dirty="0"/>
          </a:p>
        </p:txBody>
      </p:sp>
    </p:spTree>
    <p:extLst>
      <p:ext uri="{BB962C8B-B14F-4D97-AF65-F5344CB8AC3E}">
        <p14:creationId xmlns:p14="http://schemas.microsoft.com/office/powerpoint/2010/main" val="36240643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A23F6D-BA87-7CB5-78A1-B8365235FE6C}"/>
            </a:ext>
          </a:extLst>
        </p:cNvPr>
        <p:cNvGrpSpPr/>
        <p:nvPr/>
      </p:nvGrpSpPr>
      <p:grpSpPr>
        <a:xfrm>
          <a:off x="0" y="0"/>
          <a:ext cx="0" cy="0"/>
          <a:chOff x="0" y="0"/>
          <a:chExt cx="0" cy="0"/>
        </a:xfrm>
      </p:grpSpPr>
      <p:pic>
        <p:nvPicPr>
          <p:cNvPr id="7" name="Imagen 6" descr="Imagen que contiene Logotipo&#10;&#10;Descripción generada automáticamente">
            <a:extLst>
              <a:ext uri="{FF2B5EF4-FFF2-40B4-BE49-F238E27FC236}">
                <a16:creationId xmlns:a16="http://schemas.microsoft.com/office/drawing/2014/main" id="{6314727D-326B-3C52-0C72-EB26E94F89D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0800000">
            <a:off x="5081070" y="5797825"/>
            <a:ext cx="7110930" cy="1060175"/>
          </a:xfrm>
          <a:prstGeom prst="rect">
            <a:avLst/>
          </a:prstGeom>
        </p:spPr>
      </p:pic>
      <p:graphicFrame>
        <p:nvGraphicFramePr>
          <p:cNvPr id="3" name="Objeto 2" hidden="1">
            <a:extLst>
              <a:ext uri="{FF2B5EF4-FFF2-40B4-BE49-F238E27FC236}">
                <a16:creationId xmlns:a16="http://schemas.microsoft.com/office/drawing/2014/main" id="{BEC3C408-E636-5DC1-5CFC-9C6C3C639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3" name="Objeto 2" hidden="1">
                        <a:extLst>
                          <a:ext uri="{FF2B5EF4-FFF2-40B4-BE49-F238E27FC236}">
                            <a16:creationId xmlns:a16="http://schemas.microsoft.com/office/drawing/2014/main" id="{F4ABC978-CA81-3632-35C5-A8ED8FD904C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60DB4207-CFB5-69B6-B4A3-31D33FDD3110}"/>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2800" b="1" i="0" u="none" strike="noStrike" kern="1200" cap="none" spc="0" normalizeH="0" baseline="0" noProof="0">
              <a:ln>
                <a:noFill/>
              </a:ln>
              <a:solidFill>
                <a:prstClr val="black"/>
              </a:solidFill>
              <a:effectLst/>
              <a:uLnTx/>
              <a:uFillTx/>
              <a:latin typeface="Calibri" panose="020F0502020204030204" pitchFamily="34" charset="0"/>
              <a:ea typeface="+mn-ea"/>
              <a:cs typeface="+mn-cs"/>
              <a:sym typeface="Calibri" panose="020F0502020204030204" pitchFamily="34" charset="0"/>
            </a:endParaRPr>
          </a:p>
        </p:txBody>
      </p:sp>
      <p:pic>
        <p:nvPicPr>
          <p:cNvPr id="38" name="Imagen 37" descr="Imagen que contiene Logotipo&#10;&#10;Descripción generada automáticamente">
            <a:extLst>
              <a:ext uri="{FF2B5EF4-FFF2-40B4-BE49-F238E27FC236}">
                <a16:creationId xmlns:a16="http://schemas.microsoft.com/office/drawing/2014/main" id="{038749D7-2776-996B-B30E-E2DD4178160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2"/>
            <a:ext cx="7110930" cy="1060175"/>
          </a:xfrm>
          <a:prstGeom prst="rect">
            <a:avLst/>
          </a:prstGeom>
        </p:spPr>
      </p:pic>
      <p:pic>
        <p:nvPicPr>
          <p:cNvPr id="6" name="Imagen 5" descr="Logotipo&#10;&#10;Descripción generada automáticamente">
            <a:extLst>
              <a:ext uri="{FF2B5EF4-FFF2-40B4-BE49-F238E27FC236}">
                <a16:creationId xmlns:a16="http://schemas.microsoft.com/office/drawing/2014/main" id="{D71EB703-93AB-893F-30AB-E2FDA2C36B4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29800" y="530086"/>
            <a:ext cx="1905000" cy="698500"/>
          </a:xfrm>
          <a:prstGeom prst="rect">
            <a:avLst/>
          </a:prstGeom>
        </p:spPr>
      </p:pic>
      <p:sp>
        <p:nvSpPr>
          <p:cNvPr id="2" name="Title 2">
            <a:extLst>
              <a:ext uri="{FF2B5EF4-FFF2-40B4-BE49-F238E27FC236}">
                <a16:creationId xmlns:a16="http://schemas.microsoft.com/office/drawing/2014/main" id="{AFE88457-8357-2486-7774-4C2A91FD91DB}"/>
              </a:ext>
            </a:extLst>
          </p:cNvPr>
          <p:cNvSpPr>
            <a:spLocks noGrp="1"/>
          </p:cNvSpPr>
          <p:nvPr>
            <p:ph type="title"/>
          </p:nvPr>
        </p:nvSpPr>
        <p:spPr>
          <a:xfrm>
            <a:off x="1166026" y="2876614"/>
            <a:ext cx="7424334" cy="1327928"/>
          </a:xfrm>
        </p:spPr>
        <p:txBody>
          <a:bodyPr/>
          <a:lstStyle/>
          <a:p>
            <a:pPr>
              <a:lnSpc>
                <a:spcPts val="3500"/>
              </a:lnSpc>
              <a:spcBef>
                <a:spcPts val="0"/>
              </a:spcBef>
            </a:pPr>
            <a:br>
              <a:rPr lang="es-PE" sz="2800" dirty="0">
                <a:latin typeface="Source Sans Pro" panose="020B0503030403020204" pitchFamily="34" charset="0"/>
                <a:ea typeface="Source Sans Pro" panose="020B0503030403020204" pitchFamily="34" charset="0"/>
              </a:rPr>
            </a:br>
            <a:r>
              <a:rPr lang="es-MX" sz="2800" b="1" dirty="0">
                <a:solidFill>
                  <a:srgbClr val="3FA7A7"/>
                </a:solidFill>
                <a:latin typeface="Source Sans Pro"/>
                <a:ea typeface="Source Sans Pro"/>
                <a:cs typeface="Open Sans"/>
              </a:rPr>
              <a:t>Arquitectura y </a:t>
            </a:r>
            <a:r>
              <a:rPr lang="es-MX" sz="2800" b="1" dirty="0" err="1">
                <a:solidFill>
                  <a:srgbClr val="3FA7A7"/>
                </a:solidFill>
                <a:latin typeface="Source Sans Pro"/>
                <a:ea typeface="Source Sans Pro"/>
                <a:cs typeface="Open Sans"/>
              </a:rPr>
              <a:t>Metadata</a:t>
            </a:r>
            <a:r>
              <a:rPr lang="es-MX" sz="2800" b="1" dirty="0">
                <a:solidFill>
                  <a:srgbClr val="3FA7A7"/>
                </a:solidFill>
                <a:latin typeface="Source Sans Pro"/>
                <a:ea typeface="Source Sans Pro"/>
                <a:cs typeface="Open Sans"/>
              </a:rPr>
              <a:t> Analítica</a:t>
            </a:r>
            <a:br>
              <a:rPr lang="es-MX" sz="2800" b="1" dirty="0">
                <a:latin typeface="Source Sans Pro" panose="020B0503030403020204" pitchFamily="34" charset="0"/>
                <a:ea typeface="Source Sans Pro" panose="020B0503030403020204" pitchFamily="34" charset="0"/>
                <a:cs typeface="Open Sans"/>
              </a:rPr>
            </a:br>
            <a:endParaRPr lang="es-MX" sz="2800" b="1" dirty="0">
              <a:solidFill>
                <a:srgbClr val="3FA7A7"/>
              </a:solidFill>
              <a:latin typeface="Source Sans Pro" panose="020B0503030403020204" pitchFamily="34" charset="0"/>
              <a:ea typeface="Source Sans Pro" panose="020B0503030403020204" pitchFamily="34" charset="0"/>
              <a:cs typeface="Open Sans"/>
            </a:endParaRPr>
          </a:p>
        </p:txBody>
      </p:sp>
      <p:cxnSp>
        <p:nvCxnSpPr>
          <p:cNvPr id="44" name="Straight Connector 43">
            <a:extLst>
              <a:ext uri="{FF2B5EF4-FFF2-40B4-BE49-F238E27FC236}">
                <a16:creationId xmlns:a16="http://schemas.microsoft.com/office/drawing/2014/main" id="{52B2A0A0-5FF0-BC02-43FB-4C4D907B0ECD}"/>
              </a:ext>
            </a:extLst>
          </p:cNvPr>
          <p:cNvCxnSpPr>
            <a:cxnSpLocks/>
          </p:cNvCxnSpPr>
          <p:nvPr/>
        </p:nvCxnSpPr>
        <p:spPr>
          <a:xfrm>
            <a:off x="1169210" y="3935205"/>
            <a:ext cx="4785867" cy="0"/>
          </a:xfrm>
          <a:prstGeom prst="line">
            <a:avLst/>
          </a:prstGeom>
          <a:noFill/>
          <a:ln w="19050" cap="flat" cmpd="sng" algn="ctr">
            <a:solidFill>
              <a:schemeClr val="tx1">
                <a:lumMod val="50000"/>
                <a:lumOff val="50000"/>
              </a:schemeClr>
            </a:solidFill>
            <a:prstDash val="solid"/>
            <a:miter lim="800000"/>
            <a:headEnd type="oval"/>
            <a:tailEnd type="oval"/>
          </a:ln>
          <a:effectLst/>
        </p:spPr>
      </p:cxnSp>
      <p:pic>
        <p:nvPicPr>
          <p:cNvPr id="49" name="Picture 2" descr="Resultado de imagen para minsur">
            <a:extLst>
              <a:ext uri="{FF2B5EF4-FFF2-40B4-BE49-F238E27FC236}">
                <a16:creationId xmlns:a16="http://schemas.microsoft.com/office/drawing/2014/main" id="{43655655-9605-2E2B-1F0B-9EAA413AFE6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60047" y="1144115"/>
            <a:ext cx="1615333" cy="411933"/>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Servicios – Ensys">
            <a:extLst>
              <a:ext uri="{FF2B5EF4-FFF2-40B4-BE49-F238E27FC236}">
                <a16:creationId xmlns:a16="http://schemas.microsoft.com/office/drawing/2014/main" id="{11FDC3CB-ACC6-86EA-F12D-D854DE92134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551552" y="1137692"/>
            <a:ext cx="2203160" cy="42477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Raura Compañía Minera">
            <a:extLst>
              <a:ext uri="{FF2B5EF4-FFF2-40B4-BE49-F238E27FC236}">
                <a16:creationId xmlns:a16="http://schemas.microsoft.com/office/drawing/2014/main" id="{D44D6555-CD71-0011-C48F-52BDFD21032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930884" y="1144115"/>
            <a:ext cx="395744" cy="41193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Compañía Minera Raura | LinkedIn">
            <a:extLst>
              <a:ext uri="{FF2B5EF4-FFF2-40B4-BE49-F238E27FC236}">
                <a16:creationId xmlns:a16="http://schemas.microsoft.com/office/drawing/2014/main" id="{34C9CA3A-61D0-E3D6-D01E-A0ECB7AFB781}"/>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32938" t="40358" r="-774" b="38386"/>
          <a:stretch>
            <a:fillRect/>
          </a:stretch>
        </p:blipFill>
        <p:spPr bwMode="auto">
          <a:xfrm>
            <a:off x="5449861" y="1283331"/>
            <a:ext cx="1292277" cy="404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69013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D7C5F7-6458-690B-3088-6E5D56E270A5}"/>
            </a:ext>
          </a:extLst>
        </p:cNvPr>
        <p:cNvGrpSpPr/>
        <p:nvPr/>
      </p:nvGrpSpPr>
      <p:grpSpPr>
        <a:xfrm>
          <a:off x="0" y="0"/>
          <a:ext cx="0" cy="0"/>
          <a:chOff x="0" y="0"/>
          <a:chExt cx="0" cy="0"/>
        </a:xfrm>
      </p:grpSpPr>
      <p:pic>
        <p:nvPicPr>
          <p:cNvPr id="6" name="Imagen 5" descr="Imagen que contiene Logotipo&#10;&#10;Descripción generada automáticamente">
            <a:extLst>
              <a:ext uri="{FF2B5EF4-FFF2-40B4-BE49-F238E27FC236}">
                <a16:creationId xmlns:a16="http://schemas.microsoft.com/office/drawing/2014/main" id="{7CE05CAC-AAB5-7BA7-C1E0-AFA8E2CFB3E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2"/>
            <a:ext cx="7110930" cy="1060175"/>
          </a:xfrm>
          <a:prstGeom prst="rect">
            <a:avLst/>
          </a:prstGeom>
        </p:spPr>
      </p:pic>
      <p:sp>
        <p:nvSpPr>
          <p:cNvPr id="62" name="Rectángulo: esquinas diagonales redondeadas 61">
            <a:extLst>
              <a:ext uri="{FF2B5EF4-FFF2-40B4-BE49-F238E27FC236}">
                <a16:creationId xmlns:a16="http://schemas.microsoft.com/office/drawing/2014/main" id="{C23A656F-2DD6-8299-F2B9-A59AA65F70A4}"/>
              </a:ext>
            </a:extLst>
          </p:cNvPr>
          <p:cNvSpPr/>
          <p:nvPr/>
        </p:nvSpPr>
        <p:spPr>
          <a:xfrm>
            <a:off x="5783627" y="2288492"/>
            <a:ext cx="1492505" cy="698640"/>
          </a:xfrm>
          <a:prstGeom prst="round2DiagRect">
            <a:avLst>
              <a:gd name="adj1" fmla="val 28822"/>
              <a:gd name="adj2" fmla="val 0"/>
            </a:avLst>
          </a:prstGeom>
          <a:solidFill>
            <a:srgbClr val="3FA7A7"/>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tIns="36000" bIns="36000" rtlCol="0" anchor="ctr"/>
          <a:lstStyle/>
          <a:p>
            <a:pPr algn="ctr"/>
            <a:r>
              <a:rPr lang="es-PE" sz="1400" b="1" err="1"/>
              <a:t>quality</a:t>
            </a:r>
            <a:endParaRPr lang="es-PE" sz="1400" b="1"/>
          </a:p>
        </p:txBody>
      </p:sp>
      <p:sp>
        <p:nvSpPr>
          <p:cNvPr id="125" name="Rectángulo: esquinas redondeadas 124">
            <a:extLst>
              <a:ext uri="{FF2B5EF4-FFF2-40B4-BE49-F238E27FC236}">
                <a16:creationId xmlns:a16="http://schemas.microsoft.com/office/drawing/2014/main" id="{50893702-4036-5858-68CB-9F6637C41536}"/>
              </a:ext>
            </a:extLst>
          </p:cNvPr>
          <p:cNvSpPr/>
          <p:nvPr/>
        </p:nvSpPr>
        <p:spPr>
          <a:xfrm>
            <a:off x="5783627" y="4215481"/>
            <a:ext cx="1492505" cy="672084"/>
          </a:xfrm>
          <a:prstGeom prst="roundRect">
            <a:avLst>
              <a:gd name="adj" fmla="val 0"/>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MX" sz="1000" dirty="0">
                <a:solidFill>
                  <a:srgbClr val="575757"/>
                </a:solidFill>
              </a:rPr>
              <a:t>Aplicación de reglas de calidad de datos (error)</a:t>
            </a:r>
          </a:p>
        </p:txBody>
      </p:sp>
      <p:grpSp>
        <p:nvGrpSpPr>
          <p:cNvPr id="2064" name="Grupo 2063">
            <a:extLst>
              <a:ext uri="{FF2B5EF4-FFF2-40B4-BE49-F238E27FC236}">
                <a16:creationId xmlns:a16="http://schemas.microsoft.com/office/drawing/2014/main" id="{8E4B41A8-FDC8-32F3-C2F9-8CDFDBCBF112}"/>
              </a:ext>
            </a:extLst>
          </p:cNvPr>
          <p:cNvGrpSpPr/>
          <p:nvPr/>
        </p:nvGrpSpPr>
        <p:grpSpPr>
          <a:xfrm>
            <a:off x="6115819" y="3191008"/>
            <a:ext cx="828669" cy="805498"/>
            <a:chOff x="5681938" y="2544182"/>
            <a:chExt cx="828669" cy="805498"/>
          </a:xfrm>
        </p:grpSpPr>
        <p:pic>
          <p:nvPicPr>
            <p:cNvPr id="2060" name="Picture 14" descr="catálogo ">
              <a:extLst>
                <a:ext uri="{FF2B5EF4-FFF2-40B4-BE49-F238E27FC236}">
                  <a16:creationId xmlns:a16="http://schemas.microsoft.com/office/drawing/2014/main" id="{C985ED4A-3EF8-FADA-C28E-32779207A48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81938" y="2550238"/>
              <a:ext cx="828120" cy="799442"/>
            </a:xfrm>
            <a:prstGeom prst="rect">
              <a:avLst/>
            </a:prstGeom>
            <a:noFill/>
            <a:extLst>
              <a:ext uri="{909E8E84-426E-40DD-AFC4-6F175D3DCCD1}">
                <a14:hiddenFill xmlns:a14="http://schemas.microsoft.com/office/drawing/2010/main">
                  <a:solidFill>
                    <a:srgbClr val="FFFFFF"/>
                  </a:solidFill>
                </a14:hiddenFill>
              </a:ext>
            </a:extLst>
          </p:spPr>
        </p:pic>
        <p:pic>
          <p:nvPicPr>
            <p:cNvPr id="2063" name="Imagen 2062">
              <a:extLst>
                <a:ext uri="{FF2B5EF4-FFF2-40B4-BE49-F238E27FC236}">
                  <a16:creationId xmlns:a16="http://schemas.microsoft.com/office/drawing/2014/main" id="{B8CB211E-03C0-AC49-0180-B2085AA696A5}"/>
                </a:ext>
              </a:extLst>
            </p:cNvPr>
            <p:cNvPicPr>
              <a:picLocks noChangeAspect="1"/>
            </p:cNvPicPr>
            <p:nvPr/>
          </p:nvPicPr>
          <p:blipFill>
            <a:blip r:embed="rId7"/>
            <a:stretch>
              <a:fillRect/>
            </a:stretch>
          </p:blipFill>
          <p:spPr>
            <a:xfrm>
              <a:off x="6129731" y="2544182"/>
              <a:ext cx="380876" cy="380876"/>
            </a:xfrm>
            <a:prstGeom prst="rect">
              <a:avLst/>
            </a:prstGeom>
          </p:spPr>
        </p:pic>
      </p:grpSp>
      <p:sp>
        <p:nvSpPr>
          <p:cNvPr id="16" name="Rectángulo: esquinas diagonales redondeadas 15">
            <a:extLst>
              <a:ext uri="{FF2B5EF4-FFF2-40B4-BE49-F238E27FC236}">
                <a16:creationId xmlns:a16="http://schemas.microsoft.com/office/drawing/2014/main" id="{D0E17F45-D6F8-739D-6553-8F7DDC8062FD}"/>
              </a:ext>
            </a:extLst>
          </p:cNvPr>
          <p:cNvSpPr/>
          <p:nvPr/>
        </p:nvSpPr>
        <p:spPr>
          <a:xfrm>
            <a:off x="7313860" y="2302588"/>
            <a:ext cx="1492505" cy="698640"/>
          </a:xfrm>
          <a:prstGeom prst="round2DiagRect">
            <a:avLst>
              <a:gd name="adj1" fmla="val 28822"/>
              <a:gd name="adj2" fmla="val 0"/>
            </a:avLst>
          </a:prstGeom>
          <a:solidFill>
            <a:srgbClr val="3FA7A7"/>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tIns="36000" bIns="36000" rtlCol="0" anchor="ctr"/>
          <a:lstStyle/>
          <a:p>
            <a:pPr algn="ctr"/>
            <a:r>
              <a:rPr lang="es-PE" sz="1400" b="1" err="1"/>
              <a:t>curated</a:t>
            </a:r>
            <a:endParaRPr lang="es-PE" sz="1400" b="1"/>
          </a:p>
        </p:txBody>
      </p:sp>
      <p:grpSp>
        <p:nvGrpSpPr>
          <p:cNvPr id="17" name="Grupo 16">
            <a:extLst>
              <a:ext uri="{FF2B5EF4-FFF2-40B4-BE49-F238E27FC236}">
                <a16:creationId xmlns:a16="http://schemas.microsoft.com/office/drawing/2014/main" id="{F34018CC-CF5A-6978-CB30-7EEED61D4923}"/>
              </a:ext>
            </a:extLst>
          </p:cNvPr>
          <p:cNvGrpSpPr/>
          <p:nvPr/>
        </p:nvGrpSpPr>
        <p:grpSpPr>
          <a:xfrm>
            <a:off x="7602859" y="3131152"/>
            <a:ext cx="851085" cy="886215"/>
            <a:chOff x="4303646" y="2488629"/>
            <a:chExt cx="473274" cy="510489"/>
          </a:xfrm>
        </p:grpSpPr>
        <p:pic>
          <p:nvPicPr>
            <p:cNvPr id="44" name="Picture 14" descr="catálogo ">
              <a:extLst>
                <a:ext uri="{FF2B5EF4-FFF2-40B4-BE49-F238E27FC236}">
                  <a16:creationId xmlns:a16="http://schemas.microsoft.com/office/drawing/2014/main" id="{1A88CCF0-1680-CBA2-409D-FFC76FDF5B7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03646" y="2538613"/>
              <a:ext cx="460504" cy="460505"/>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descr="brilla ">
              <a:extLst>
                <a:ext uri="{FF2B5EF4-FFF2-40B4-BE49-F238E27FC236}">
                  <a16:creationId xmlns:a16="http://schemas.microsoft.com/office/drawing/2014/main" id="{98C17226-6051-F66B-9D47-CB73BF45A7A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57523" y="2488629"/>
              <a:ext cx="219397" cy="219397"/>
            </a:xfrm>
            <a:prstGeom prst="rect">
              <a:avLst/>
            </a:prstGeom>
            <a:noFill/>
            <a:extLst>
              <a:ext uri="{909E8E84-426E-40DD-AFC4-6F175D3DCCD1}">
                <a14:hiddenFill xmlns:a14="http://schemas.microsoft.com/office/drawing/2010/main">
                  <a:solidFill>
                    <a:srgbClr val="FFFFFF"/>
                  </a:solidFill>
                </a14:hiddenFill>
              </a:ext>
            </a:extLst>
          </p:spPr>
        </p:pic>
      </p:grpSp>
      <p:sp>
        <p:nvSpPr>
          <p:cNvPr id="18" name="Rectángulo: esquinas redondeadas 17">
            <a:extLst>
              <a:ext uri="{FF2B5EF4-FFF2-40B4-BE49-F238E27FC236}">
                <a16:creationId xmlns:a16="http://schemas.microsoft.com/office/drawing/2014/main" id="{2D94CD69-67CF-3920-DFF1-E8D1D25A25A3}"/>
              </a:ext>
            </a:extLst>
          </p:cNvPr>
          <p:cNvSpPr/>
          <p:nvPr/>
        </p:nvSpPr>
        <p:spPr>
          <a:xfrm>
            <a:off x="7313860" y="4229577"/>
            <a:ext cx="1492505" cy="632136"/>
          </a:xfrm>
          <a:prstGeom prst="roundRect">
            <a:avLst>
              <a:gd name="adj" fmla="val 0"/>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1000" dirty="0">
                <a:solidFill>
                  <a:srgbClr val="575757"/>
                </a:solidFill>
              </a:rPr>
              <a:t>Data que paso los procesos de reglas de calidad y aplicación de reglas de negocio</a:t>
            </a:r>
          </a:p>
        </p:txBody>
      </p:sp>
      <p:graphicFrame>
        <p:nvGraphicFramePr>
          <p:cNvPr id="3" name="Objeto 2" hidden="1">
            <a:extLst>
              <a:ext uri="{FF2B5EF4-FFF2-40B4-BE49-F238E27FC236}">
                <a16:creationId xmlns:a16="http://schemas.microsoft.com/office/drawing/2014/main" id="{E25C2D8A-9015-AA77-72A0-C8DDAC728E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4" progId="TCLayout.ActiveDocument.1">
                  <p:embed/>
                </p:oleObj>
              </mc:Choice>
              <mc:Fallback>
                <p:oleObj name="think-cell Slide" r:id="rId9" imgW="395" imgH="394" progId="TCLayout.ActiveDocument.1">
                  <p:embed/>
                  <p:pic>
                    <p:nvPicPr>
                      <p:cNvPr id="3" name="Objeto 2" hidden="1">
                        <a:extLst>
                          <a:ext uri="{FF2B5EF4-FFF2-40B4-BE49-F238E27FC236}">
                            <a16:creationId xmlns:a16="http://schemas.microsoft.com/office/drawing/2014/main" id="{E25C2D8A-9015-AA77-72A0-C8DDAC728E9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0C03D5A0-A7DD-E51A-14FA-0706C9A07037}"/>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2800" b="1" i="0" u="none" strike="noStrike" kern="1200" cap="none" spc="0" normalizeH="0" baseline="0" noProof="0">
              <a:ln>
                <a:noFill/>
              </a:ln>
              <a:solidFill>
                <a:prstClr val="black"/>
              </a:solidFill>
              <a:effectLst/>
              <a:uLnTx/>
              <a:uFillTx/>
              <a:latin typeface="Calibri" panose="020F0502020204030204" pitchFamily="34" charset="0"/>
              <a:ea typeface="+mn-ea"/>
              <a:cs typeface="+mn-cs"/>
              <a:sym typeface="Calibri" panose="020F0502020204030204" pitchFamily="34" charset="0"/>
            </a:endParaRPr>
          </a:p>
        </p:txBody>
      </p:sp>
      <p:sp>
        <p:nvSpPr>
          <p:cNvPr id="2" name="CuadroTexto 1">
            <a:extLst>
              <a:ext uri="{FF2B5EF4-FFF2-40B4-BE49-F238E27FC236}">
                <a16:creationId xmlns:a16="http://schemas.microsoft.com/office/drawing/2014/main" id="{E5E7A4D0-89AF-B2B1-A948-95ACA4B90701}"/>
              </a:ext>
            </a:extLst>
          </p:cNvPr>
          <p:cNvSpPr txBox="1"/>
          <p:nvPr/>
        </p:nvSpPr>
        <p:spPr>
          <a:xfrm>
            <a:off x="1201660" y="182344"/>
            <a:ext cx="10503091" cy="733672"/>
          </a:xfrm>
          <a:prstGeom prst="rect">
            <a:avLst/>
          </a:prstGeom>
        </p:spPr>
        <p:txBody>
          <a:bodyPr vert="horz" lIns="121920" tIns="60960" rIns="121920" bIns="60960" rtlCol="0" anchor="ctr">
            <a:noAutofit/>
          </a:bodyPr>
          <a:lstStyle/>
          <a:p>
            <a:pPr>
              <a:spcBef>
                <a:spcPct val="20000"/>
              </a:spcBef>
            </a:pPr>
            <a:r>
              <a:rPr lang="es-ES" sz="2400" b="1" dirty="0">
                <a:solidFill>
                  <a:srgbClr val="3FA7A7"/>
                </a:solidFill>
                <a:latin typeface="Trebuchet MS" panose="020B0603020202020204" pitchFamily="34" charset="0"/>
              </a:rPr>
              <a:t>L</a:t>
            </a:r>
            <a:r>
              <a:rPr lang="es-ES" sz="2400" b="1" i="0" u="none" strike="noStrike" dirty="0">
                <a:solidFill>
                  <a:srgbClr val="3FA7A7"/>
                </a:solidFill>
                <a:effectLst/>
                <a:latin typeface="Trebuchet MS" panose="020B0603020202020204" pitchFamily="34" charset="0"/>
              </a:rPr>
              <a:t>ineamientos </a:t>
            </a:r>
            <a:r>
              <a:rPr lang="es-ES" sz="2400" b="1" dirty="0" err="1">
                <a:solidFill>
                  <a:srgbClr val="3FA7A7"/>
                </a:solidFill>
                <a:latin typeface="Trebuchet MS" panose="020B0603020202020204" pitchFamily="34" charset="0"/>
              </a:rPr>
              <a:t>D</a:t>
            </a:r>
            <a:r>
              <a:rPr lang="es-ES" sz="2400" b="1" i="0" u="none" strike="noStrike" dirty="0" err="1">
                <a:solidFill>
                  <a:srgbClr val="3FA7A7"/>
                </a:solidFill>
                <a:effectLst/>
                <a:latin typeface="Trebuchet MS" panose="020B0603020202020204" pitchFamily="34" charset="0"/>
              </a:rPr>
              <a:t>atalake</a:t>
            </a:r>
            <a:endParaRPr lang="es-PE" sz="2400" b="1" dirty="0">
              <a:solidFill>
                <a:srgbClr val="3FA7A7"/>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0" name="Rectángulo: esquinas diagonales redondeadas 59">
            <a:extLst>
              <a:ext uri="{FF2B5EF4-FFF2-40B4-BE49-F238E27FC236}">
                <a16:creationId xmlns:a16="http://schemas.microsoft.com/office/drawing/2014/main" id="{B858923D-F310-537A-CF93-BB39AE415864}"/>
              </a:ext>
            </a:extLst>
          </p:cNvPr>
          <p:cNvSpPr/>
          <p:nvPr/>
        </p:nvSpPr>
        <p:spPr>
          <a:xfrm>
            <a:off x="10472099" y="2288492"/>
            <a:ext cx="1492505" cy="698640"/>
          </a:xfrm>
          <a:prstGeom prst="round2DiagRect">
            <a:avLst>
              <a:gd name="adj1" fmla="val 28822"/>
              <a:gd name="adj2" fmla="val 0"/>
            </a:avLst>
          </a:prstGeom>
          <a:solidFill>
            <a:srgbClr val="3FA7A7"/>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tIns="36000" bIns="36000" rtlCol="0" anchor="ctr"/>
          <a:lstStyle/>
          <a:p>
            <a:pPr algn="ctr"/>
            <a:r>
              <a:rPr lang="es-PE" sz="1400" b="1" err="1"/>
              <a:t>functional</a:t>
            </a:r>
            <a:endParaRPr lang="es-PE" sz="1400" b="1"/>
          </a:p>
        </p:txBody>
      </p:sp>
      <p:sp>
        <p:nvSpPr>
          <p:cNvPr id="61" name="Rectángulo: esquinas diagonales redondeadas 60">
            <a:extLst>
              <a:ext uri="{FF2B5EF4-FFF2-40B4-BE49-F238E27FC236}">
                <a16:creationId xmlns:a16="http://schemas.microsoft.com/office/drawing/2014/main" id="{BEDF4563-DDDE-6CF9-EA32-55E3C485AC95}"/>
              </a:ext>
            </a:extLst>
          </p:cNvPr>
          <p:cNvSpPr/>
          <p:nvPr/>
        </p:nvSpPr>
        <p:spPr>
          <a:xfrm>
            <a:off x="8948099" y="2288492"/>
            <a:ext cx="1492505" cy="698640"/>
          </a:xfrm>
          <a:prstGeom prst="round2DiagRect">
            <a:avLst>
              <a:gd name="adj1" fmla="val 28822"/>
              <a:gd name="adj2" fmla="val 0"/>
            </a:avLst>
          </a:prstGeom>
          <a:solidFill>
            <a:srgbClr val="3FA7A7"/>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tIns="36000" bIns="36000" rtlCol="0" anchor="ctr"/>
          <a:lstStyle/>
          <a:p>
            <a:pPr algn="ctr"/>
            <a:r>
              <a:rPr lang="es-PE" sz="1400" b="1" err="1"/>
              <a:t>enrichment</a:t>
            </a:r>
            <a:endParaRPr lang="es-PE" sz="1400" b="1"/>
          </a:p>
        </p:txBody>
      </p:sp>
      <p:sp>
        <p:nvSpPr>
          <p:cNvPr id="64" name="Rectángulo: esquinas diagonales redondeadas 63">
            <a:extLst>
              <a:ext uri="{FF2B5EF4-FFF2-40B4-BE49-F238E27FC236}">
                <a16:creationId xmlns:a16="http://schemas.microsoft.com/office/drawing/2014/main" id="{91E95494-2451-ACF3-FD7E-3BF2188928E6}"/>
              </a:ext>
            </a:extLst>
          </p:cNvPr>
          <p:cNvSpPr/>
          <p:nvPr/>
        </p:nvSpPr>
        <p:spPr>
          <a:xfrm>
            <a:off x="4096265" y="2323934"/>
            <a:ext cx="1492505" cy="698640"/>
          </a:xfrm>
          <a:prstGeom prst="round2DiagRect">
            <a:avLst>
              <a:gd name="adj1" fmla="val 28822"/>
              <a:gd name="adj2" fmla="val 0"/>
            </a:avLst>
          </a:prstGeom>
          <a:solidFill>
            <a:srgbClr val="3FA7A7"/>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tIns="36000" bIns="36000" rtlCol="0" anchor="ctr"/>
          <a:lstStyle/>
          <a:p>
            <a:pPr algn="ctr"/>
            <a:r>
              <a:rPr lang="es-PE" sz="1400" b="1" err="1"/>
              <a:t>landing</a:t>
            </a:r>
            <a:endParaRPr lang="es-PE" sz="1400" b="1"/>
          </a:p>
        </p:txBody>
      </p:sp>
      <p:sp>
        <p:nvSpPr>
          <p:cNvPr id="65" name="Rectángulo: esquinas diagonales redondeadas 64">
            <a:extLst>
              <a:ext uri="{FF2B5EF4-FFF2-40B4-BE49-F238E27FC236}">
                <a16:creationId xmlns:a16="http://schemas.microsoft.com/office/drawing/2014/main" id="{C900B084-15B1-BEA2-9648-BC104D4E08E5}"/>
              </a:ext>
            </a:extLst>
          </p:cNvPr>
          <p:cNvSpPr/>
          <p:nvPr/>
        </p:nvSpPr>
        <p:spPr>
          <a:xfrm>
            <a:off x="2464554" y="2312527"/>
            <a:ext cx="1492505" cy="698640"/>
          </a:xfrm>
          <a:prstGeom prst="round2DiagRect">
            <a:avLst>
              <a:gd name="adj1" fmla="val 28822"/>
              <a:gd name="adj2" fmla="val 0"/>
            </a:avLst>
          </a:prstGeom>
          <a:solidFill>
            <a:srgbClr val="3FA7A7"/>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36000" rIns="91440" bIns="36000" rtlCol="0" anchor="ctr"/>
          <a:lstStyle/>
          <a:p>
            <a:pPr algn="ctr"/>
            <a:r>
              <a:rPr lang="es-PE" sz="1400" b="1" err="1"/>
              <a:t>prelanding</a:t>
            </a:r>
            <a:endParaRPr lang="es-PE" sz="1400" b="1"/>
          </a:p>
        </p:txBody>
      </p:sp>
      <p:grpSp>
        <p:nvGrpSpPr>
          <p:cNvPr id="114" name="Grupo 113">
            <a:extLst>
              <a:ext uri="{FF2B5EF4-FFF2-40B4-BE49-F238E27FC236}">
                <a16:creationId xmlns:a16="http://schemas.microsoft.com/office/drawing/2014/main" id="{6AA80D4E-0F43-5058-45A9-B4AA33BE360D}"/>
              </a:ext>
            </a:extLst>
          </p:cNvPr>
          <p:cNvGrpSpPr/>
          <p:nvPr/>
        </p:nvGrpSpPr>
        <p:grpSpPr>
          <a:xfrm>
            <a:off x="4249249" y="3181947"/>
            <a:ext cx="900048" cy="951940"/>
            <a:chOff x="2688428" y="2444991"/>
            <a:chExt cx="566740" cy="599415"/>
          </a:xfrm>
        </p:grpSpPr>
        <p:pic>
          <p:nvPicPr>
            <p:cNvPr id="89" name="Picture 14" descr="catálogo ">
              <a:extLst>
                <a:ext uri="{FF2B5EF4-FFF2-40B4-BE49-F238E27FC236}">
                  <a16:creationId xmlns:a16="http://schemas.microsoft.com/office/drawing/2014/main" id="{85E8DE74-39F0-7B6B-03A8-ACDD05CAFED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41546" y="2444991"/>
              <a:ext cx="460504" cy="460505"/>
            </a:xfrm>
            <a:prstGeom prst="rect">
              <a:avLst/>
            </a:prstGeom>
            <a:noFill/>
            <a:extLst>
              <a:ext uri="{909E8E84-426E-40DD-AFC4-6F175D3DCCD1}">
                <a14:hiddenFill xmlns:a14="http://schemas.microsoft.com/office/drawing/2010/main">
                  <a:solidFill>
                    <a:srgbClr val="FFFFFF"/>
                  </a:solidFill>
                </a14:hiddenFill>
              </a:ext>
            </a:extLst>
          </p:spPr>
        </p:pic>
        <p:sp>
          <p:nvSpPr>
            <p:cNvPr id="90" name="Rectángulo: esquinas redondeadas 89">
              <a:extLst>
                <a:ext uri="{FF2B5EF4-FFF2-40B4-BE49-F238E27FC236}">
                  <a16:creationId xmlns:a16="http://schemas.microsoft.com/office/drawing/2014/main" id="{4F81C197-D154-C89B-D837-1DAB5297D069}"/>
                </a:ext>
              </a:extLst>
            </p:cNvPr>
            <p:cNvSpPr/>
            <p:nvPr/>
          </p:nvSpPr>
          <p:spPr>
            <a:xfrm>
              <a:off x="2688428" y="2924547"/>
              <a:ext cx="566740" cy="119859"/>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PE" sz="900" b="1" dirty="0"/>
                <a:t>.delta</a:t>
              </a:r>
              <a:endParaRPr lang="es-PE" sz="700" b="1" dirty="0"/>
            </a:p>
          </p:txBody>
        </p:sp>
      </p:grpSp>
      <p:grpSp>
        <p:nvGrpSpPr>
          <p:cNvPr id="113" name="Grupo 112">
            <a:extLst>
              <a:ext uri="{FF2B5EF4-FFF2-40B4-BE49-F238E27FC236}">
                <a16:creationId xmlns:a16="http://schemas.microsoft.com/office/drawing/2014/main" id="{37539237-04C8-C7C5-2ED5-9161ED1002A3}"/>
              </a:ext>
            </a:extLst>
          </p:cNvPr>
          <p:cNvGrpSpPr/>
          <p:nvPr/>
        </p:nvGrpSpPr>
        <p:grpSpPr>
          <a:xfrm>
            <a:off x="2515497" y="3133612"/>
            <a:ext cx="1331126" cy="1070129"/>
            <a:chOff x="844454" y="2407432"/>
            <a:chExt cx="1078736" cy="867226"/>
          </a:xfrm>
        </p:grpSpPr>
        <p:grpSp>
          <p:nvGrpSpPr>
            <p:cNvPr id="112" name="Grupo 111">
              <a:extLst>
                <a:ext uri="{FF2B5EF4-FFF2-40B4-BE49-F238E27FC236}">
                  <a16:creationId xmlns:a16="http://schemas.microsoft.com/office/drawing/2014/main" id="{D5A2AA82-9BA1-36EF-D6A4-523B2A34B4BD}"/>
                </a:ext>
              </a:extLst>
            </p:cNvPr>
            <p:cNvGrpSpPr/>
            <p:nvPr/>
          </p:nvGrpSpPr>
          <p:grpSpPr>
            <a:xfrm>
              <a:off x="844454" y="2413735"/>
              <a:ext cx="513610" cy="431825"/>
              <a:chOff x="665478" y="2399396"/>
              <a:chExt cx="513610" cy="431825"/>
            </a:xfrm>
          </p:grpSpPr>
          <p:pic>
            <p:nvPicPr>
              <p:cNvPr id="67" name="Picture 14" descr="catálogo ">
                <a:extLst>
                  <a:ext uri="{FF2B5EF4-FFF2-40B4-BE49-F238E27FC236}">
                    <a16:creationId xmlns:a16="http://schemas.microsoft.com/office/drawing/2014/main" id="{D6B67B51-72EB-A59C-4068-56365891217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5478" y="2399396"/>
                <a:ext cx="431824" cy="431825"/>
              </a:xfrm>
              <a:prstGeom prst="rect">
                <a:avLst/>
              </a:prstGeom>
              <a:noFill/>
              <a:extLst>
                <a:ext uri="{909E8E84-426E-40DD-AFC4-6F175D3DCCD1}">
                  <a14:hiddenFill xmlns:a14="http://schemas.microsoft.com/office/drawing/2010/main">
                    <a:solidFill>
                      <a:srgbClr val="FFFFFF"/>
                    </a:solidFill>
                  </a14:hiddenFill>
                </a:ext>
              </a:extLst>
            </p:spPr>
          </p:pic>
          <p:sp>
            <p:nvSpPr>
              <p:cNvPr id="83" name="Rectángulo: esquinas redondeadas 82">
                <a:extLst>
                  <a:ext uri="{FF2B5EF4-FFF2-40B4-BE49-F238E27FC236}">
                    <a16:creationId xmlns:a16="http://schemas.microsoft.com/office/drawing/2014/main" id="{CCEA1534-4913-831B-725A-52EEF8295C37}"/>
                  </a:ext>
                </a:extLst>
              </p:cNvPr>
              <p:cNvSpPr/>
              <p:nvPr/>
            </p:nvSpPr>
            <p:spPr>
              <a:xfrm>
                <a:off x="835213" y="2441841"/>
                <a:ext cx="343875" cy="112394"/>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algn="ctr"/>
                <a:r>
                  <a:rPr lang="es-PE" sz="800" b="1" dirty="0"/>
                  <a:t>.</a:t>
                </a:r>
                <a:r>
                  <a:rPr lang="es-PE" sz="800" b="1" dirty="0" err="1"/>
                  <a:t>csv</a:t>
                </a:r>
                <a:endParaRPr lang="es-PE" sz="600" b="1" dirty="0"/>
              </a:p>
            </p:txBody>
          </p:sp>
        </p:grpSp>
        <p:grpSp>
          <p:nvGrpSpPr>
            <p:cNvPr id="111" name="Grupo 110">
              <a:extLst>
                <a:ext uri="{FF2B5EF4-FFF2-40B4-BE49-F238E27FC236}">
                  <a16:creationId xmlns:a16="http://schemas.microsoft.com/office/drawing/2014/main" id="{FC837FEC-505C-3439-446C-008F7562024D}"/>
                </a:ext>
              </a:extLst>
            </p:cNvPr>
            <p:cNvGrpSpPr/>
            <p:nvPr/>
          </p:nvGrpSpPr>
          <p:grpSpPr>
            <a:xfrm>
              <a:off x="1409580" y="2407432"/>
              <a:ext cx="513610" cy="431825"/>
              <a:chOff x="1546844" y="2399396"/>
              <a:chExt cx="513610" cy="431825"/>
            </a:xfrm>
          </p:grpSpPr>
          <p:pic>
            <p:nvPicPr>
              <p:cNvPr id="101" name="Picture 14" descr="catálogo ">
                <a:extLst>
                  <a:ext uri="{FF2B5EF4-FFF2-40B4-BE49-F238E27FC236}">
                    <a16:creationId xmlns:a16="http://schemas.microsoft.com/office/drawing/2014/main" id="{0EDDEF83-9B73-111E-AFE7-365806BBD9F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46844" y="2399396"/>
                <a:ext cx="431824" cy="431825"/>
              </a:xfrm>
              <a:prstGeom prst="rect">
                <a:avLst/>
              </a:prstGeom>
              <a:noFill/>
              <a:extLst>
                <a:ext uri="{909E8E84-426E-40DD-AFC4-6F175D3DCCD1}">
                  <a14:hiddenFill xmlns:a14="http://schemas.microsoft.com/office/drawing/2010/main">
                    <a:solidFill>
                      <a:srgbClr val="FFFFFF"/>
                    </a:solidFill>
                  </a14:hiddenFill>
                </a:ext>
              </a:extLst>
            </p:spPr>
          </p:pic>
          <p:sp>
            <p:nvSpPr>
              <p:cNvPr id="102" name="Rectángulo: esquinas redondeadas 101">
                <a:extLst>
                  <a:ext uri="{FF2B5EF4-FFF2-40B4-BE49-F238E27FC236}">
                    <a16:creationId xmlns:a16="http://schemas.microsoft.com/office/drawing/2014/main" id="{3C24FB8A-35B0-13EB-7589-D8BE91CC57D7}"/>
                  </a:ext>
                </a:extLst>
              </p:cNvPr>
              <p:cNvSpPr/>
              <p:nvPr/>
            </p:nvSpPr>
            <p:spPr>
              <a:xfrm>
                <a:off x="1716579" y="2441841"/>
                <a:ext cx="343875" cy="112394"/>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800" b="1" dirty="0"/>
                  <a:t>.xls</a:t>
                </a:r>
                <a:endParaRPr lang="es-PE" sz="600" b="1" dirty="0"/>
              </a:p>
            </p:txBody>
          </p:sp>
        </p:grpSp>
        <p:grpSp>
          <p:nvGrpSpPr>
            <p:cNvPr id="110" name="Grupo 109">
              <a:extLst>
                <a:ext uri="{FF2B5EF4-FFF2-40B4-BE49-F238E27FC236}">
                  <a16:creationId xmlns:a16="http://schemas.microsoft.com/office/drawing/2014/main" id="{86E0C5D5-EB9E-DB8E-7472-01C122A983CA}"/>
                </a:ext>
              </a:extLst>
            </p:cNvPr>
            <p:cNvGrpSpPr/>
            <p:nvPr/>
          </p:nvGrpSpPr>
          <p:grpSpPr>
            <a:xfrm>
              <a:off x="1111882" y="2842833"/>
              <a:ext cx="513610" cy="431825"/>
              <a:chOff x="1065268" y="2666211"/>
              <a:chExt cx="513610" cy="431825"/>
            </a:xfrm>
          </p:grpSpPr>
          <p:pic>
            <p:nvPicPr>
              <p:cNvPr id="104" name="Picture 14" descr="catálogo ">
                <a:extLst>
                  <a:ext uri="{FF2B5EF4-FFF2-40B4-BE49-F238E27FC236}">
                    <a16:creationId xmlns:a16="http://schemas.microsoft.com/office/drawing/2014/main" id="{2C022EB2-3370-ECA7-A7D4-761B2D360CD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65268" y="2666211"/>
                <a:ext cx="431824" cy="431825"/>
              </a:xfrm>
              <a:prstGeom prst="rect">
                <a:avLst/>
              </a:prstGeom>
              <a:noFill/>
              <a:extLst>
                <a:ext uri="{909E8E84-426E-40DD-AFC4-6F175D3DCCD1}">
                  <a14:hiddenFill xmlns:a14="http://schemas.microsoft.com/office/drawing/2010/main">
                    <a:solidFill>
                      <a:srgbClr val="FFFFFF"/>
                    </a:solidFill>
                  </a14:hiddenFill>
                </a:ext>
              </a:extLst>
            </p:spPr>
          </p:pic>
          <p:sp>
            <p:nvSpPr>
              <p:cNvPr id="105" name="Rectángulo: esquinas redondeadas 104">
                <a:extLst>
                  <a:ext uri="{FF2B5EF4-FFF2-40B4-BE49-F238E27FC236}">
                    <a16:creationId xmlns:a16="http://schemas.microsoft.com/office/drawing/2014/main" id="{62E30C07-C1B6-9820-DAE6-40E9D2CDC218}"/>
                  </a:ext>
                </a:extLst>
              </p:cNvPr>
              <p:cNvSpPr/>
              <p:nvPr/>
            </p:nvSpPr>
            <p:spPr>
              <a:xfrm>
                <a:off x="1235003" y="2708656"/>
                <a:ext cx="343875" cy="112394"/>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800" b="1" dirty="0"/>
                  <a:t>.</a:t>
                </a:r>
                <a:r>
                  <a:rPr lang="es-PE" sz="800" b="1" dirty="0" err="1"/>
                  <a:t>txt</a:t>
                </a:r>
                <a:endParaRPr lang="es-PE" sz="600" b="1" dirty="0"/>
              </a:p>
            </p:txBody>
          </p:sp>
        </p:grpSp>
      </p:grpSp>
      <p:sp>
        <p:nvSpPr>
          <p:cNvPr id="121" name="Rectángulo: esquinas redondeadas 120">
            <a:extLst>
              <a:ext uri="{FF2B5EF4-FFF2-40B4-BE49-F238E27FC236}">
                <a16:creationId xmlns:a16="http://schemas.microsoft.com/office/drawing/2014/main" id="{4F68743C-795E-B3A1-75DB-8FB8B0518D8D}"/>
              </a:ext>
            </a:extLst>
          </p:cNvPr>
          <p:cNvSpPr/>
          <p:nvPr/>
        </p:nvSpPr>
        <p:spPr>
          <a:xfrm>
            <a:off x="2422106" y="4254667"/>
            <a:ext cx="1492505" cy="592438"/>
          </a:xfrm>
          <a:prstGeom prst="roundRect">
            <a:avLst>
              <a:gd name="adj" fmla="val 0"/>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PE" sz="1000" dirty="0">
                <a:solidFill>
                  <a:srgbClr val="575757"/>
                </a:solidFill>
              </a:rPr>
              <a:t>Archivos en distintos formatos</a:t>
            </a:r>
          </a:p>
        </p:txBody>
      </p:sp>
      <p:sp>
        <p:nvSpPr>
          <p:cNvPr id="122" name="Rectángulo: esquinas redondeadas 121">
            <a:extLst>
              <a:ext uri="{FF2B5EF4-FFF2-40B4-BE49-F238E27FC236}">
                <a16:creationId xmlns:a16="http://schemas.microsoft.com/office/drawing/2014/main" id="{59018510-C2A8-B381-EC58-458FD7DD9392}"/>
              </a:ext>
            </a:extLst>
          </p:cNvPr>
          <p:cNvSpPr/>
          <p:nvPr/>
        </p:nvSpPr>
        <p:spPr>
          <a:xfrm>
            <a:off x="3984206" y="4250923"/>
            <a:ext cx="1492505" cy="610790"/>
          </a:xfrm>
          <a:prstGeom prst="roundRect">
            <a:avLst>
              <a:gd name="adj" fmla="val 0"/>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1000" dirty="0">
                <a:solidFill>
                  <a:srgbClr val="575757"/>
                </a:solidFill>
              </a:rPr>
              <a:t>Archivos en formato “.delta” y para datos no estructurados colocar en la carpeta IA GEN</a:t>
            </a:r>
          </a:p>
        </p:txBody>
      </p:sp>
      <p:grpSp>
        <p:nvGrpSpPr>
          <p:cNvPr id="2058" name="Grupo 2057">
            <a:extLst>
              <a:ext uri="{FF2B5EF4-FFF2-40B4-BE49-F238E27FC236}">
                <a16:creationId xmlns:a16="http://schemas.microsoft.com/office/drawing/2014/main" id="{50154CA4-E4BC-185D-7DA8-8F60BD1E87F4}"/>
              </a:ext>
            </a:extLst>
          </p:cNvPr>
          <p:cNvGrpSpPr/>
          <p:nvPr/>
        </p:nvGrpSpPr>
        <p:grpSpPr>
          <a:xfrm>
            <a:off x="10826667" y="3147685"/>
            <a:ext cx="828120" cy="832258"/>
            <a:chOff x="5777264" y="2588216"/>
            <a:chExt cx="637472" cy="640657"/>
          </a:xfrm>
        </p:grpSpPr>
        <p:pic>
          <p:nvPicPr>
            <p:cNvPr id="127" name="Picture 14" descr="catálogo ">
              <a:extLst>
                <a:ext uri="{FF2B5EF4-FFF2-40B4-BE49-F238E27FC236}">
                  <a16:creationId xmlns:a16="http://schemas.microsoft.com/office/drawing/2014/main" id="{F10036B3-8A90-015A-7EC7-BBEB23E4606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77264" y="2613477"/>
              <a:ext cx="637472" cy="615396"/>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4" descr="comprobado ">
              <a:extLst>
                <a:ext uri="{FF2B5EF4-FFF2-40B4-BE49-F238E27FC236}">
                  <a16:creationId xmlns:a16="http://schemas.microsoft.com/office/drawing/2014/main" id="{73E8D3A4-0B36-F5E1-89E3-0145FA33FB5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191096" y="2588216"/>
              <a:ext cx="185079" cy="185079"/>
            </a:xfrm>
            <a:prstGeom prst="rect">
              <a:avLst/>
            </a:prstGeom>
            <a:noFill/>
            <a:extLst>
              <a:ext uri="{909E8E84-426E-40DD-AFC4-6F175D3DCCD1}">
                <a14:hiddenFill xmlns:a14="http://schemas.microsoft.com/office/drawing/2010/main">
                  <a:solidFill>
                    <a:srgbClr val="FFFFFF"/>
                  </a:solidFill>
                </a14:hiddenFill>
              </a:ext>
            </a:extLst>
          </p:spPr>
        </p:pic>
      </p:grpSp>
      <p:sp>
        <p:nvSpPr>
          <p:cNvPr id="2057" name="Rectángulo: esquinas redondeadas 2056">
            <a:extLst>
              <a:ext uri="{FF2B5EF4-FFF2-40B4-BE49-F238E27FC236}">
                <a16:creationId xmlns:a16="http://schemas.microsoft.com/office/drawing/2014/main" id="{E0573F6B-B6F5-9828-61D7-3F71F66AC6E9}"/>
              </a:ext>
            </a:extLst>
          </p:cNvPr>
          <p:cNvSpPr/>
          <p:nvPr/>
        </p:nvSpPr>
        <p:spPr>
          <a:xfrm>
            <a:off x="8948099" y="4215481"/>
            <a:ext cx="1492505" cy="631624"/>
          </a:xfrm>
          <a:prstGeom prst="roundRect">
            <a:avLst>
              <a:gd name="adj" fmla="val 0"/>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1000" dirty="0">
                <a:solidFill>
                  <a:srgbClr val="575757"/>
                </a:solidFill>
              </a:rPr>
              <a:t>Datos enriquecidos</a:t>
            </a:r>
          </a:p>
          <a:p>
            <a:pPr algn="ctr"/>
            <a:r>
              <a:rPr lang="es-PE" sz="1000" dirty="0">
                <a:solidFill>
                  <a:srgbClr val="575757"/>
                </a:solidFill>
              </a:rPr>
              <a:t>Tablas Input AA</a:t>
            </a:r>
          </a:p>
        </p:txBody>
      </p:sp>
      <p:sp>
        <p:nvSpPr>
          <p:cNvPr id="2084" name="Rectángulo: esquinas redondeadas 2083">
            <a:extLst>
              <a:ext uri="{FF2B5EF4-FFF2-40B4-BE49-F238E27FC236}">
                <a16:creationId xmlns:a16="http://schemas.microsoft.com/office/drawing/2014/main" id="{D247007B-E410-DA0A-51FD-CD52F5A47C29}"/>
              </a:ext>
            </a:extLst>
          </p:cNvPr>
          <p:cNvSpPr/>
          <p:nvPr/>
        </p:nvSpPr>
        <p:spPr>
          <a:xfrm>
            <a:off x="10472099" y="4215481"/>
            <a:ext cx="1492505" cy="606108"/>
          </a:xfrm>
          <a:prstGeom prst="roundRect">
            <a:avLst>
              <a:gd name="adj" fmla="val 0"/>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PE" sz="1000" dirty="0">
                <a:solidFill>
                  <a:srgbClr val="575757"/>
                </a:solidFill>
              </a:rPr>
              <a:t>Datos listos para consumo</a:t>
            </a:r>
          </a:p>
        </p:txBody>
      </p:sp>
      <p:grpSp>
        <p:nvGrpSpPr>
          <p:cNvPr id="2244" name="Grupo 2243">
            <a:extLst>
              <a:ext uri="{FF2B5EF4-FFF2-40B4-BE49-F238E27FC236}">
                <a16:creationId xmlns:a16="http://schemas.microsoft.com/office/drawing/2014/main" id="{7D5F8BC2-0CBA-9EF9-0FF3-9336287F5317}"/>
              </a:ext>
            </a:extLst>
          </p:cNvPr>
          <p:cNvGrpSpPr/>
          <p:nvPr/>
        </p:nvGrpSpPr>
        <p:grpSpPr>
          <a:xfrm>
            <a:off x="9131338" y="3079388"/>
            <a:ext cx="1111437" cy="920472"/>
            <a:chOff x="6988436" y="4461102"/>
            <a:chExt cx="1471934" cy="1194355"/>
          </a:xfrm>
        </p:grpSpPr>
        <p:cxnSp>
          <p:nvCxnSpPr>
            <p:cNvPr id="2072" name="Conector recto de flecha 2071">
              <a:extLst>
                <a:ext uri="{FF2B5EF4-FFF2-40B4-BE49-F238E27FC236}">
                  <a16:creationId xmlns:a16="http://schemas.microsoft.com/office/drawing/2014/main" id="{4797CF0D-8235-9C05-A178-5386D4E9C2AB}"/>
                </a:ext>
              </a:extLst>
            </p:cNvPr>
            <p:cNvCxnSpPr>
              <a:cxnSpLocks/>
            </p:cNvCxnSpPr>
            <p:nvPr/>
          </p:nvCxnSpPr>
          <p:spPr>
            <a:xfrm>
              <a:off x="7684306" y="4630313"/>
              <a:ext cx="531286" cy="387950"/>
            </a:xfrm>
            <a:prstGeom prst="curvedConnector2">
              <a:avLst/>
            </a:prstGeom>
            <a:ln w="38100">
              <a:solidFill>
                <a:srgbClr val="333333"/>
              </a:solidFill>
              <a:tailEnd type="triangle"/>
            </a:ln>
          </p:spPr>
          <p:style>
            <a:lnRef idx="2">
              <a:schemeClr val="accent1"/>
            </a:lnRef>
            <a:fillRef idx="0">
              <a:schemeClr val="accent1"/>
            </a:fillRef>
            <a:effectRef idx="1">
              <a:schemeClr val="accent1"/>
            </a:effectRef>
            <a:fontRef idx="minor">
              <a:schemeClr val="tx1"/>
            </a:fontRef>
          </p:style>
        </p:cxnSp>
        <p:cxnSp>
          <p:nvCxnSpPr>
            <p:cNvPr id="2073" name="Conector recto de flecha 2071">
              <a:extLst>
                <a:ext uri="{FF2B5EF4-FFF2-40B4-BE49-F238E27FC236}">
                  <a16:creationId xmlns:a16="http://schemas.microsoft.com/office/drawing/2014/main" id="{7F7A9330-9BC3-8CD7-0952-A491047B31F7}"/>
                </a:ext>
              </a:extLst>
            </p:cNvPr>
            <p:cNvCxnSpPr>
              <a:cxnSpLocks/>
            </p:cNvCxnSpPr>
            <p:nvPr/>
          </p:nvCxnSpPr>
          <p:spPr>
            <a:xfrm rot="10800000">
              <a:off x="7244377" y="5154621"/>
              <a:ext cx="508897" cy="411183"/>
            </a:xfrm>
            <a:prstGeom prst="curvedConnector2">
              <a:avLst/>
            </a:prstGeom>
            <a:ln w="38100">
              <a:solidFill>
                <a:srgbClr val="333333"/>
              </a:solidFill>
              <a:tailEnd type="triangle"/>
            </a:ln>
          </p:spPr>
          <p:style>
            <a:lnRef idx="2">
              <a:schemeClr val="accent1"/>
            </a:lnRef>
            <a:fillRef idx="0">
              <a:schemeClr val="accent1"/>
            </a:fillRef>
            <a:effectRef idx="1">
              <a:schemeClr val="accent1"/>
            </a:effectRef>
            <a:fontRef idx="minor">
              <a:schemeClr val="tx1"/>
            </a:fontRef>
          </p:style>
        </p:cxnSp>
        <p:grpSp>
          <p:nvGrpSpPr>
            <p:cNvPr id="48" name="Grupo 47">
              <a:extLst>
                <a:ext uri="{FF2B5EF4-FFF2-40B4-BE49-F238E27FC236}">
                  <a16:creationId xmlns:a16="http://schemas.microsoft.com/office/drawing/2014/main" id="{CFFF773C-75D0-EAAF-1F84-7B3BBAD27022}"/>
                </a:ext>
              </a:extLst>
            </p:cNvPr>
            <p:cNvGrpSpPr/>
            <p:nvPr/>
          </p:nvGrpSpPr>
          <p:grpSpPr>
            <a:xfrm>
              <a:off x="6988436" y="4461102"/>
              <a:ext cx="623091" cy="644344"/>
              <a:chOff x="6950336" y="2315114"/>
              <a:chExt cx="623091" cy="644344"/>
            </a:xfrm>
          </p:grpSpPr>
          <p:pic>
            <p:nvPicPr>
              <p:cNvPr id="2066" name="Picture 14" descr="catálogo ">
                <a:extLst>
                  <a:ext uri="{FF2B5EF4-FFF2-40B4-BE49-F238E27FC236}">
                    <a16:creationId xmlns:a16="http://schemas.microsoft.com/office/drawing/2014/main" id="{8DA7ACCD-6E59-BD94-9748-F06C5936FCD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50336" y="2375971"/>
                <a:ext cx="604418" cy="583487"/>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 descr="brilla ">
                <a:extLst>
                  <a:ext uri="{FF2B5EF4-FFF2-40B4-BE49-F238E27FC236}">
                    <a16:creationId xmlns:a16="http://schemas.microsoft.com/office/drawing/2014/main" id="{D5F630BD-C5DD-8280-4C4D-8498FCB614C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91192" y="2315114"/>
                <a:ext cx="282235" cy="2724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9" name="Grupo 48">
              <a:extLst>
                <a:ext uri="{FF2B5EF4-FFF2-40B4-BE49-F238E27FC236}">
                  <a16:creationId xmlns:a16="http://schemas.microsoft.com/office/drawing/2014/main" id="{17CFA69F-08E7-3EA0-206A-F99D01397CE8}"/>
                </a:ext>
              </a:extLst>
            </p:cNvPr>
            <p:cNvGrpSpPr/>
            <p:nvPr/>
          </p:nvGrpSpPr>
          <p:grpSpPr>
            <a:xfrm>
              <a:off x="7837632" y="5010816"/>
              <a:ext cx="622738" cy="644641"/>
              <a:chOff x="7799532" y="2864828"/>
              <a:chExt cx="622738" cy="644641"/>
            </a:xfrm>
          </p:grpSpPr>
          <p:pic>
            <p:nvPicPr>
              <p:cNvPr id="2069" name="Picture 14" descr="catálogo ">
                <a:extLst>
                  <a:ext uri="{FF2B5EF4-FFF2-40B4-BE49-F238E27FC236}">
                    <a16:creationId xmlns:a16="http://schemas.microsoft.com/office/drawing/2014/main" id="{51C38FF7-E11D-F424-C571-9245BF1774D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99532" y="2925982"/>
                <a:ext cx="604418" cy="583487"/>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brilla ">
                <a:extLst>
                  <a:ext uri="{FF2B5EF4-FFF2-40B4-BE49-F238E27FC236}">
                    <a16:creationId xmlns:a16="http://schemas.microsoft.com/office/drawing/2014/main" id="{1B182C0B-BB77-A1AE-CF31-D610FBFE526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140035" y="2864828"/>
                <a:ext cx="282235" cy="272460"/>
              </a:xfrm>
              <a:prstGeom prst="rect">
                <a:avLst/>
              </a:prstGeom>
              <a:noFill/>
              <a:extLst>
                <a:ext uri="{909E8E84-426E-40DD-AFC4-6F175D3DCCD1}">
                  <a14:hiddenFill xmlns:a14="http://schemas.microsoft.com/office/drawing/2010/main">
                    <a:solidFill>
                      <a:srgbClr val="FFFFFF"/>
                    </a:solidFill>
                  </a14:hiddenFill>
                </a:ext>
              </a:extLst>
            </p:spPr>
          </p:pic>
        </p:grpSp>
        <p:sp>
          <p:nvSpPr>
            <p:cNvPr id="50" name="Signo de multiplicación 49">
              <a:extLst>
                <a:ext uri="{FF2B5EF4-FFF2-40B4-BE49-F238E27FC236}">
                  <a16:creationId xmlns:a16="http://schemas.microsoft.com/office/drawing/2014/main" id="{69D251B7-AA0D-82B2-617E-80031875EC85}"/>
                </a:ext>
              </a:extLst>
            </p:cNvPr>
            <p:cNvSpPr/>
            <p:nvPr/>
          </p:nvSpPr>
          <p:spPr>
            <a:xfrm>
              <a:off x="7573583" y="4942083"/>
              <a:ext cx="265492" cy="261211"/>
            </a:xfrm>
            <a:prstGeom prst="mathMultiply">
              <a:avLst>
                <a:gd name="adj1" fmla="val 16227"/>
              </a:avLst>
            </a:prstGeom>
            <a:solidFill>
              <a:srgbClr val="3333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grpSp>
      <p:sp>
        <p:nvSpPr>
          <p:cNvPr id="11" name="Flecha: hacia arriba 10">
            <a:extLst>
              <a:ext uri="{FF2B5EF4-FFF2-40B4-BE49-F238E27FC236}">
                <a16:creationId xmlns:a16="http://schemas.microsoft.com/office/drawing/2014/main" id="{A5844FE4-7399-6320-0D6F-7C12B4F3FFEB}"/>
              </a:ext>
            </a:extLst>
          </p:cNvPr>
          <p:cNvSpPr/>
          <p:nvPr/>
        </p:nvSpPr>
        <p:spPr>
          <a:xfrm>
            <a:off x="2822849" y="1317197"/>
            <a:ext cx="532857" cy="901049"/>
          </a:xfrm>
          <a:prstGeom prst="upArrow">
            <a:avLst/>
          </a:prstGeom>
          <a:solidFill>
            <a:srgbClr val="FF53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4" name="Rectángulo: esquinas redondeadas 13">
            <a:extLst>
              <a:ext uri="{FF2B5EF4-FFF2-40B4-BE49-F238E27FC236}">
                <a16:creationId xmlns:a16="http://schemas.microsoft.com/office/drawing/2014/main" id="{DFE45018-5320-D2D6-EA25-5D359B9B3DB0}"/>
              </a:ext>
            </a:extLst>
          </p:cNvPr>
          <p:cNvSpPr/>
          <p:nvPr/>
        </p:nvSpPr>
        <p:spPr>
          <a:xfrm>
            <a:off x="2359411" y="764075"/>
            <a:ext cx="1479915" cy="496344"/>
          </a:xfrm>
          <a:prstGeom prst="roundRect">
            <a:avLst/>
          </a:prstGeom>
          <a:solidFill>
            <a:srgbClr val="FF53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b="1" err="1"/>
              <a:t>Bronze</a:t>
            </a:r>
            <a:endParaRPr lang="es-PE" b="1"/>
          </a:p>
        </p:txBody>
      </p:sp>
      <p:sp>
        <p:nvSpPr>
          <p:cNvPr id="15" name="Rectángulo: esquinas redondeadas 14">
            <a:extLst>
              <a:ext uri="{FF2B5EF4-FFF2-40B4-BE49-F238E27FC236}">
                <a16:creationId xmlns:a16="http://schemas.microsoft.com/office/drawing/2014/main" id="{80CBFF94-7B3C-9CE3-6B86-817E2FAABDA1}"/>
              </a:ext>
            </a:extLst>
          </p:cNvPr>
          <p:cNvSpPr/>
          <p:nvPr/>
        </p:nvSpPr>
        <p:spPr>
          <a:xfrm>
            <a:off x="5749339" y="2216034"/>
            <a:ext cx="3087881" cy="806125"/>
          </a:xfrm>
          <a:prstGeom prst="roundRect">
            <a:avLst/>
          </a:prstGeom>
          <a:noFill/>
          <a:ln w="28575">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52" name="Flecha: hacia arriba 51">
            <a:extLst>
              <a:ext uri="{FF2B5EF4-FFF2-40B4-BE49-F238E27FC236}">
                <a16:creationId xmlns:a16="http://schemas.microsoft.com/office/drawing/2014/main" id="{28C8130C-006B-05F7-1B62-4063CA7A445A}"/>
              </a:ext>
            </a:extLst>
          </p:cNvPr>
          <p:cNvSpPr/>
          <p:nvPr/>
        </p:nvSpPr>
        <p:spPr>
          <a:xfrm>
            <a:off x="7094731" y="1357850"/>
            <a:ext cx="532857" cy="781710"/>
          </a:xfrm>
          <a:prstGeom prst="upArrow">
            <a:avLst/>
          </a:prstGeom>
          <a:solidFill>
            <a:srgbClr val="FF53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53" name="Rectángulo: esquinas redondeadas 52">
            <a:extLst>
              <a:ext uri="{FF2B5EF4-FFF2-40B4-BE49-F238E27FC236}">
                <a16:creationId xmlns:a16="http://schemas.microsoft.com/office/drawing/2014/main" id="{6B707E00-DFED-B8E2-0CD9-0099A7E49DBF}"/>
              </a:ext>
            </a:extLst>
          </p:cNvPr>
          <p:cNvSpPr/>
          <p:nvPr/>
        </p:nvSpPr>
        <p:spPr>
          <a:xfrm>
            <a:off x="6614237" y="757388"/>
            <a:ext cx="1479915" cy="496344"/>
          </a:xfrm>
          <a:prstGeom prst="roundRect">
            <a:avLst/>
          </a:prstGeom>
          <a:solidFill>
            <a:srgbClr val="FF53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b="1" dirty="0"/>
              <a:t>Silver</a:t>
            </a:r>
          </a:p>
        </p:txBody>
      </p:sp>
      <p:sp>
        <p:nvSpPr>
          <p:cNvPr id="55" name="Rectángulo: esquinas redondeadas 54">
            <a:extLst>
              <a:ext uri="{FF2B5EF4-FFF2-40B4-BE49-F238E27FC236}">
                <a16:creationId xmlns:a16="http://schemas.microsoft.com/office/drawing/2014/main" id="{2E107737-98F2-5EAE-916A-D1AC01B49353}"/>
              </a:ext>
            </a:extLst>
          </p:cNvPr>
          <p:cNvSpPr/>
          <p:nvPr/>
        </p:nvSpPr>
        <p:spPr>
          <a:xfrm>
            <a:off x="8906815" y="2216034"/>
            <a:ext cx="3080563" cy="809287"/>
          </a:xfrm>
          <a:prstGeom prst="roundRect">
            <a:avLst/>
          </a:prstGeom>
          <a:noFill/>
          <a:ln w="28575">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240" name="Flecha: hacia arriba 2239">
            <a:extLst>
              <a:ext uri="{FF2B5EF4-FFF2-40B4-BE49-F238E27FC236}">
                <a16:creationId xmlns:a16="http://schemas.microsoft.com/office/drawing/2014/main" id="{7198726D-6FEB-0202-751E-18A0292C22E3}"/>
              </a:ext>
            </a:extLst>
          </p:cNvPr>
          <p:cNvSpPr/>
          <p:nvPr/>
        </p:nvSpPr>
        <p:spPr>
          <a:xfrm>
            <a:off x="10153994" y="1357850"/>
            <a:ext cx="532857" cy="781710"/>
          </a:xfrm>
          <a:prstGeom prst="upArrow">
            <a:avLst/>
          </a:prstGeom>
          <a:solidFill>
            <a:srgbClr val="FF53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241" name="Rectángulo: esquinas redondeadas 2240">
            <a:extLst>
              <a:ext uri="{FF2B5EF4-FFF2-40B4-BE49-F238E27FC236}">
                <a16:creationId xmlns:a16="http://schemas.microsoft.com/office/drawing/2014/main" id="{DE267034-C1F9-3FA1-C66D-DC82B7E93EC2}"/>
              </a:ext>
            </a:extLst>
          </p:cNvPr>
          <p:cNvSpPr/>
          <p:nvPr/>
        </p:nvSpPr>
        <p:spPr>
          <a:xfrm>
            <a:off x="9680464" y="757388"/>
            <a:ext cx="1479915" cy="496344"/>
          </a:xfrm>
          <a:prstGeom prst="roundRect">
            <a:avLst/>
          </a:prstGeom>
          <a:solidFill>
            <a:srgbClr val="FF53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b="1" dirty="0"/>
              <a:t>Gold</a:t>
            </a:r>
          </a:p>
        </p:txBody>
      </p:sp>
      <p:sp>
        <p:nvSpPr>
          <p:cNvPr id="7" name="Rectángulo: esquinas redondeadas 6">
            <a:extLst>
              <a:ext uri="{FF2B5EF4-FFF2-40B4-BE49-F238E27FC236}">
                <a16:creationId xmlns:a16="http://schemas.microsoft.com/office/drawing/2014/main" id="{F7E942C0-7348-7579-5477-50BA370CC4D3}"/>
              </a:ext>
            </a:extLst>
          </p:cNvPr>
          <p:cNvSpPr/>
          <p:nvPr/>
        </p:nvSpPr>
        <p:spPr>
          <a:xfrm>
            <a:off x="227396" y="2203624"/>
            <a:ext cx="5397602" cy="879558"/>
          </a:xfrm>
          <a:prstGeom prst="roundRect">
            <a:avLst/>
          </a:prstGeom>
          <a:noFill/>
          <a:ln w="28575">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2" name="Rectángulo: esquinas redondeadas 11">
            <a:extLst>
              <a:ext uri="{FF2B5EF4-FFF2-40B4-BE49-F238E27FC236}">
                <a16:creationId xmlns:a16="http://schemas.microsoft.com/office/drawing/2014/main" id="{C0A75060-D5B3-AB8A-9148-CA0ECDF1AD91}"/>
              </a:ext>
            </a:extLst>
          </p:cNvPr>
          <p:cNvSpPr/>
          <p:nvPr/>
        </p:nvSpPr>
        <p:spPr>
          <a:xfrm>
            <a:off x="6079855" y="3967880"/>
            <a:ext cx="900048" cy="190350"/>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PE" sz="900" b="1" dirty="0"/>
              <a:t>.delta</a:t>
            </a:r>
            <a:endParaRPr lang="es-PE" sz="700" b="1" dirty="0"/>
          </a:p>
        </p:txBody>
      </p:sp>
      <p:sp>
        <p:nvSpPr>
          <p:cNvPr id="13" name="Rectángulo: esquinas redondeadas 12">
            <a:extLst>
              <a:ext uri="{FF2B5EF4-FFF2-40B4-BE49-F238E27FC236}">
                <a16:creationId xmlns:a16="http://schemas.microsoft.com/office/drawing/2014/main" id="{1C9E84A1-8F5B-FA85-1143-3C43ABFF1676}"/>
              </a:ext>
            </a:extLst>
          </p:cNvPr>
          <p:cNvSpPr/>
          <p:nvPr/>
        </p:nvSpPr>
        <p:spPr>
          <a:xfrm>
            <a:off x="7600408" y="3977949"/>
            <a:ext cx="900048" cy="190350"/>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PE" sz="900" b="1" dirty="0"/>
              <a:t>.delta</a:t>
            </a:r>
            <a:endParaRPr lang="es-PE" sz="700" b="1" dirty="0"/>
          </a:p>
        </p:txBody>
      </p:sp>
      <p:sp>
        <p:nvSpPr>
          <p:cNvPr id="20" name="Rectángulo: esquinas redondeadas 19">
            <a:extLst>
              <a:ext uri="{FF2B5EF4-FFF2-40B4-BE49-F238E27FC236}">
                <a16:creationId xmlns:a16="http://schemas.microsoft.com/office/drawing/2014/main" id="{CB489295-FB71-C74B-BE21-456FF0360A06}"/>
              </a:ext>
            </a:extLst>
          </p:cNvPr>
          <p:cNvSpPr/>
          <p:nvPr/>
        </p:nvSpPr>
        <p:spPr>
          <a:xfrm>
            <a:off x="10790703" y="3952018"/>
            <a:ext cx="900048" cy="190350"/>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PE" sz="900" b="1" dirty="0"/>
              <a:t>.delta</a:t>
            </a:r>
            <a:endParaRPr lang="es-PE" sz="700" b="1" dirty="0"/>
          </a:p>
        </p:txBody>
      </p:sp>
      <p:sp>
        <p:nvSpPr>
          <p:cNvPr id="22" name="Rectángulo: esquinas redondeadas 21">
            <a:extLst>
              <a:ext uri="{FF2B5EF4-FFF2-40B4-BE49-F238E27FC236}">
                <a16:creationId xmlns:a16="http://schemas.microsoft.com/office/drawing/2014/main" id="{C58EADC6-D400-430C-95F3-8D463B6CC30C}"/>
              </a:ext>
            </a:extLst>
          </p:cNvPr>
          <p:cNvSpPr/>
          <p:nvPr/>
        </p:nvSpPr>
        <p:spPr>
          <a:xfrm>
            <a:off x="9236467" y="3977949"/>
            <a:ext cx="900048" cy="190350"/>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PE" sz="900" b="1" dirty="0"/>
              <a:t>.delta</a:t>
            </a:r>
            <a:endParaRPr lang="es-PE" sz="700" b="1" dirty="0"/>
          </a:p>
        </p:txBody>
      </p:sp>
      <p:sp>
        <p:nvSpPr>
          <p:cNvPr id="21" name="Rectángulo: esquinas diagonales redondeadas 20">
            <a:extLst>
              <a:ext uri="{FF2B5EF4-FFF2-40B4-BE49-F238E27FC236}">
                <a16:creationId xmlns:a16="http://schemas.microsoft.com/office/drawing/2014/main" id="{1A6A761D-9C56-2F72-3711-58C926B6F05D}"/>
              </a:ext>
            </a:extLst>
          </p:cNvPr>
          <p:cNvSpPr/>
          <p:nvPr/>
        </p:nvSpPr>
        <p:spPr>
          <a:xfrm>
            <a:off x="479314" y="2323519"/>
            <a:ext cx="1822236" cy="698640"/>
          </a:xfrm>
          <a:prstGeom prst="round2DiagRect">
            <a:avLst>
              <a:gd name="adj1" fmla="val 28822"/>
              <a:gd name="adj2" fmla="val 0"/>
            </a:avLst>
          </a:prstGeom>
          <a:solidFill>
            <a:srgbClr val="3FA7A7"/>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36000" rIns="91440" bIns="36000" rtlCol="0" anchor="ctr"/>
          <a:lstStyle/>
          <a:p>
            <a:pPr algn="ctr"/>
            <a:r>
              <a:rPr lang="es-PE" sz="1400" b="1" err="1"/>
              <a:t>metadatadriven</a:t>
            </a:r>
            <a:endParaRPr lang="es-PE" sz="1400" b="1"/>
          </a:p>
        </p:txBody>
      </p:sp>
      <p:sp>
        <p:nvSpPr>
          <p:cNvPr id="33" name="Rectángulo: esquinas redondeadas 32">
            <a:extLst>
              <a:ext uri="{FF2B5EF4-FFF2-40B4-BE49-F238E27FC236}">
                <a16:creationId xmlns:a16="http://schemas.microsoft.com/office/drawing/2014/main" id="{C9615649-549B-B10B-C66E-DDD6EEFBF5CC}"/>
              </a:ext>
            </a:extLst>
          </p:cNvPr>
          <p:cNvSpPr/>
          <p:nvPr/>
        </p:nvSpPr>
        <p:spPr>
          <a:xfrm>
            <a:off x="227396" y="4220161"/>
            <a:ext cx="2084843" cy="626944"/>
          </a:xfrm>
          <a:prstGeom prst="roundRect">
            <a:avLst>
              <a:gd name="adj" fmla="val 0"/>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PE" sz="1000" dirty="0">
                <a:solidFill>
                  <a:srgbClr val="575757"/>
                </a:solidFill>
              </a:rPr>
              <a:t>Plantillas </a:t>
            </a:r>
            <a:r>
              <a:rPr lang="es-PE" sz="1000" dirty="0" err="1">
                <a:solidFill>
                  <a:srgbClr val="575757"/>
                </a:solidFill>
              </a:rPr>
              <a:t>MetaDataDriven</a:t>
            </a:r>
          </a:p>
          <a:p>
            <a:pPr algn="ctr"/>
            <a:r>
              <a:rPr lang="es-PE" sz="1000" dirty="0">
                <a:solidFill>
                  <a:srgbClr val="575757"/>
                </a:solidFill>
              </a:rPr>
              <a:t>(https://mineriabreca.sharepoint.com/sites/Gobierno-del-Dato)</a:t>
            </a:r>
          </a:p>
        </p:txBody>
      </p:sp>
      <p:pic>
        <p:nvPicPr>
          <p:cNvPr id="36" name="Picture 14" descr="catálogo ">
            <a:extLst>
              <a:ext uri="{FF2B5EF4-FFF2-40B4-BE49-F238E27FC236}">
                <a16:creationId xmlns:a16="http://schemas.microsoft.com/office/drawing/2014/main" id="{934C0C9A-F633-2157-55DA-D8A88EAEAD9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23452" y="3337666"/>
            <a:ext cx="532857" cy="532858"/>
          </a:xfrm>
          <a:prstGeom prst="rect">
            <a:avLst/>
          </a:prstGeom>
          <a:noFill/>
          <a:extLst>
            <a:ext uri="{909E8E84-426E-40DD-AFC4-6F175D3DCCD1}">
              <a14:hiddenFill xmlns:a14="http://schemas.microsoft.com/office/drawing/2010/main">
                <a:solidFill>
                  <a:srgbClr val="FFFFFF"/>
                </a:solidFill>
              </a14:hiddenFill>
            </a:ext>
          </a:extLst>
        </p:spPr>
      </p:pic>
      <p:sp>
        <p:nvSpPr>
          <p:cNvPr id="43" name="Rectángulo: esquinas redondeadas 42">
            <a:extLst>
              <a:ext uri="{FF2B5EF4-FFF2-40B4-BE49-F238E27FC236}">
                <a16:creationId xmlns:a16="http://schemas.microsoft.com/office/drawing/2014/main" id="{74883C37-A3E3-4C63-EEE6-07969FFA79D0}"/>
              </a:ext>
            </a:extLst>
          </p:cNvPr>
          <p:cNvSpPr/>
          <p:nvPr/>
        </p:nvSpPr>
        <p:spPr>
          <a:xfrm>
            <a:off x="2479107" y="5106604"/>
            <a:ext cx="8397346" cy="329713"/>
          </a:xfrm>
          <a:prstGeom prst="roundRect">
            <a:avLst/>
          </a:prstGeom>
          <a:solidFill>
            <a:srgbClr val="FF53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b="1" dirty="0"/>
              <a:t>Auditoria</a:t>
            </a:r>
          </a:p>
        </p:txBody>
      </p:sp>
      <p:sp>
        <p:nvSpPr>
          <p:cNvPr id="24" name="Rectángulo: esquinas redondeadas 23">
            <a:extLst>
              <a:ext uri="{FF2B5EF4-FFF2-40B4-BE49-F238E27FC236}">
                <a16:creationId xmlns:a16="http://schemas.microsoft.com/office/drawing/2014/main" id="{8D047CD9-4498-CDF5-AE22-519EBC22F5F0}"/>
              </a:ext>
            </a:extLst>
          </p:cNvPr>
          <p:cNvSpPr/>
          <p:nvPr/>
        </p:nvSpPr>
        <p:spPr>
          <a:xfrm>
            <a:off x="160284" y="5820046"/>
            <a:ext cx="645641" cy="248172"/>
          </a:xfrm>
          <a:prstGeom prst="roundRect">
            <a:avLst/>
          </a:prstGeom>
          <a:solidFill>
            <a:srgbClr val="FF53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b="1"/>
          </a:p>
        </p:txBody>
      </p:sp>
      <p:sp>
        <p:nvSpPr>
          <p:cNvPr id="27" name="CuadroTexto 26">
            <a:extLst>
              <a:ext uri="{FF2B5EF4-FFF2-40B4-BE49-F238E27FC236}">
                <a16:creationId xmlns:a16="http://schemas.microsoft.com/office/drawing/2014/main" id="{1C6AAF7C-4E9D-8C30-839C-44E0629FC11B}"/>
              </a:ext>
            </a:extLst>
          </p:cNvPr>
          <p:cNvSpPr txBox="1"/>
          <p:nvPr/>
        </p:nvSpPr>
        <p:spPr>
          <a:xfrm>
            <a:off x="805925" y="5759466"/>
            <a:ext cx="721672" cy="369332"/>
          </a:xfrm>
          <a:prstGeom prst="rect">
            <a:avLst/>
          </a:prstGeom>
          <a:noFill/>
        </p:spPr>
        <p:txBody>
          <a:bodyPr wrap="none" rtlCol="0">
            <a:spAutoFit/>
          </a:bodyPr>
          <a:lstStyle/>
          <a:p>
            <a:r>
              <a:rPr lang="es-MX" dirty="0"/>
              <a:t>Capa</a:t>
            </a:r>
            <a:endParaRPr lang="es-PE" dirty="0"/>
          </a:p>
        </p:txBody>
      </p:sp>
      <p:sp>
        <p:nvSpPr>
          <p:cNvPr id="28" name="Rectángulo: esquinas diagonales redondeadas 27">
            <a:extLst>
              <a:ext uri="{FF2B5EF4-FFF2-40B4-BE49-F238E27FC236}">
                <a16:creationId xmlns:a16="http://schemas.microsoft.com/office/drawing/2014/main" id="{E5CFFE46-2594-F0A2-6777-4E782A259187}"/>
              </a:ext>
            </a:extLst>
          </p:cNvPr>
          <p:cNvSpPr/>
          <p:nvPr/>
        </p:nvSpPr>
        <p:spPr>
          <a:xfrm>
            <a:off x="214250" y="6096198"/>
            <a:ext cx="459518" cy="248173"/>
          </a:xfrm>
          <a:prstGeom prst="round2DiagRect">
            <a:avLst>
              <a:gd name="adj1" fmla="val 28822"/>
              <a:gd name="adj2" fmla="val 0"/>
            </a:avLst>
          </a:prstGeom>
          <a:solidFill>
            <a:srgbClr val="3FA7A7"/>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36000" rIns="91440" bIns="36000" rtlCol="0" anchor="ctr"/>
          <a:lstStyle/>
          <a:p>
            <a:pPr algn="ctr"/>
            <a:endParaRPr lang="es-PE" sz="1400" b="1"/>
          </a:p>
        </p:txBody>
      </p:sp>
      <p:sp>
        <p:nvSpPr>
          <p:cNvPr id="29" name="CuadroTexto 28">
            <a:extLst>
              <a:ext uri="{FF2B5EF4-FFF2-40B4-BE49-F238E27FC236}">
                <a16:creationId xmlns:a16="http://schemas.microsoft.com/office/drawing/2014/main" id="{E932C7B5-DB0C-A8DA-5361-4CB0043D87D6}"/>
              </a:ext>
            </a:extLst>
          </p:cNvPr>
          <p:cNvSpPr txBox="1"/>
          <p:nvPr/>
        </p:nvSpPr>
        <p:spPr>
          <a:xfrm>
            <a:off x="813800" y="6063537"/>
            <a:ext cx="1607043" cy="369332"/>
          </a:xfrm>
          <a:prstGeom prst="rect">
            <a:avLst/>
          </a:prstGeom>
          <a:noFill/>
        </p:spPr>
        <p:txBody>
          <a:bodyPr wrap="none" rtlCol="0">
            <a:spAutoFit/>
          </a:bodyPr>
          <a:lstStyle/>
          <a:p>
            <a:r>
              <a:rPr lang="es-MX" dirty="0"/>
              <a:t>Contenedores</a:t>
            </a:r>
            <a:endParaRPr lang="es-PE" dirty="0"/>
          </a:p>
        </p:txBody>
      </p:sp>
      <p:sp>
        <p:nvSpPr>
          <p:cNvPr id="31" name="Rectángulo: esquinas redondeadas 30">
            <a:extLst>
              <a:ext uri="{FF2B5EF4-FFF2-40B4-BE49-F238E27FC236}">
                <a16:creationId xmlns:a16="http://schemas.microsoft.com/office/drawing/2014/main" id="{774BB743-F4C6-EAE7-6C57-7C91C3BC698C}"/>
              </a:ext>
            </a:extLst>
          </p:cNvPr>
          <p:cNvSpPr/>
          <p:nvPr/>
        </p:nvSpPr>
        <p:spPr>
          <a:xfrm>
            <a:off x="2485736" y="5497062"/>
            <a:ext cx="8390717" cy="260408"/>
          </a:xfrm>
          <a:prstGeom prst="roundRect">
            <a:avLst>
              <a:gd name="adj" fmla="val 0"/>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PE" sz="1000" dirty="0">
                <a:solidFill>
                  <a:srgbClr val="575757"/>
                </a:solidFill>
              </a:rPr>
              <a:t>Monitoreo de Calidad y Accesos de Seguridad</a:t>
            </a:r>
          </a:p>
        </p:txBody>
      </p:sp>
      <p:sp>
        <p:nvSpPr>
          <p:cNvPr id="8" name="CuadroTexto 7">
            <a:extLst>
              <a:ext uri="{FF2B5EF4-FFF2-40B4-BE49-F238E27FC236}">
                <a16:creationId xmlns:a16="http://schemas.microsoft.com/office/drawing/2014/main" id="{97E25309-84D7-FF8E-97E1-DD4F7D339FDE}"/>
              </a:ext>
            </a:extLst>
          </p:cNvPr>
          <p:cNvSpPr txBox="1"/>
          <p:nvPr/>
        </p:nvSpPr>
        <p:spPr>
          <a:xfrm>
            <a:off x="2625306" y="5823256"/>
            <a:ext cx="7415841"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dirty="0" err="1"/>
              <a:t>en</a:t>
            </a:r>
            <a:r>
              <a:rPr lang="en-US" sz="1200" dirty="0"/>
              <a:t> </a:t>
            </a:r>
            <a:r>
              <a:rPr lang="en-US" sz="1200" dirty="0" err="1"/>
              <a:t>el</a:t>
            </a:r>
            <a:r>
              <a:rPr lang="en-US" sz="1200" dirty="0"/>
              <a:t> </a:t>
            </a:r>
            <a:r>
              <a:rPr lang="en-US" sz="1200" dirty="0" err="1"/>
              <a:t>contenedor</a:t>
            </a:r>
            <a:r>
              <a:rPr lang="en-US" sz="1200" dirty="0"/>
              <a:t> Prelanding, se </a:t>
            </a:r>
            <a:r>
              <a:rPr lang="en-US" sz="1200" dirty="0" err="1"/>
              <a:t>recibe</a:t>
            </a:r>
            <a:r>
              <a:rPr lang="en-US" sz="1200" dirty="0"/>
              <a:t> </a:t>
            </a:r>
            <a:r>
              <a:rPr lang="en-US" sz="1200" dirty="0" err="1"/>
              <a:t>el</a:t>
            </a:r>
            <a:r>
              <a:rPr lang="en-US" sz="1200" dirty="0"/>
              <a:t> </a:t>
            </a:r>
            <a:r>
              <a:rPr lang="en-US" sz="1200" dirty="0" err="1"/>
              <a:t>archivo</a:t>
            </a:r>
            <a:r>
              <a:rPr lang="en-US" sz="1200" dirty="0"/>
              <a:t> y se </a:t>
            </a:r>
            <a:r>
              <a:rPr lang="en-US" sz="1200" dirty="0" err="1"/>
              <a:t>almacena</a:t>
            </a:r>
            <a:r>
              <a:rPr lang="en-US" sz="1200" dirty="0"/>
              <a:t>, y </a:t>
            </a:r>
            <a:r>
              <a:rPr lang="en-US" sz="1200" dirty="0" err="1"/>
              <a:t>en</a:t>
            </a:r>
            <a:r>
              <a:rPr lang="en-US" sz="1200" dirty="0"/>
              <a:t> </a:t>
            </a:r>
            <a:r>
              <a:rPr lang="en-US" sz="1200" dirty="0" err="1"/>
              <a:t>el</a:t>
            </a:r>
            <a:r>
              <a:rPr lang="en-US" sz="1200" dirty="0"/>
              <a:t> Unity Catalog </a:t>
            </a:r>
            <a:r>
              <a:rPr lang="en-US" sz="1200" dirty="0" err="1"/>
              <a:t>este</a:t>
            </a:r>
            <a:r>
              <a:rPr lang="en-US" sz="1200" dirty="0"/>
              <a:t> </a:t>
            </a:r>
            <a:r>
              <a:rPr lang="en-US" sz="1200" dirty="0" err="1"/>
              <a:t>archivo</a:t>
            </a:r>
            <a:r>
              <a:rPr lang="en-US" sz="1200" dirty="0"/>
              <a:t> se </a:t>
            </a:r>
            <a:r>
              <a:rPr lang="en-US" sz="1200" dirty="0" err="1"/>
              <a:t>puede</a:t>
            </a:r>
            <a:r>
              <a:rPr lang="en-US" sz="1200" dirty="0"/>
              <a:t> </a:t>
            </a:r>
            <a:r>
              <a:rPr lang="en-US" sz="1200" dirty="0" err="1"/>
              <a:t>ver</a:t>
            </a:r>
            <a:r>
              <a:rPr lang="en-US" sz="1200" dirty="0"/>
              <a:t> </a:t>
            </a:r>
            <a:r>
              <a:rPr lang="en-US" sz="1200" dirty="0" err="1"/>
              <a:t>como</a:t>
            </a:r>
            <a:r>
              <a:rPr lang="en-US" sz="1200" dirty="0"/>
              <a:t> </a:t>
            </a:r>
            <a:r>
              <a:rPr lang="en-US" sz="1200" dirty="0" err="1"/>
              <a:t>volumen</a:t>
            </a:r>
            <a:r>
              <a:rPr lang="en-US" sz="1200" dirty="0"/>
              <a:t>, </a:t>
            </a:r>
            <a:r>
              <a:rPr lang="en-US" sz="1200" dirty="0" err="1"/>
              <a:t>pero</a:t>
            </a:r>
            <a:r>
              <a:rPr lang="en-US" sz="1200" dirty="0"/>
              <a:t> no </a:t>
            </a:r>
            <a:r>
              <a:rPr lang="en-US" sz="1200" dirty="0" err="1"/>
              <a:t>como</a:t>
            </a:r>
            <a:r>
              <a:rPr lang="en-US" sz="1200" dirty="0"/>
              <a:t> </a:t>
            </a:r>
            <a:r>
              <a:rPr lang="en-US" sz="1200" dirty="0" err="1"/>
              <a:t>tabla</a:t>
            </a:r>
            <a:r>
              <a:rPr lang="en-US" sz="1200" dirty="0"/>
              <a:t> </a:t>
            </a:r>
            <a:r>
              <a:rPr lang="en-US" sz="1200" dirty="0" err="1"/>
              <a:t>física</a:t>
            </a:r>
            <a:r>
              <a:rPr lang="en-US" sz="1200" dirty="0"/>
              <a:t>. </a:t>
            </a:r>
            <a:endParaRPr lang="en-US" dirty="0"/>
          </a:p>
        </p:txBody>
      </p:sp>
      <p:pic>
        <p:nvPicPr>
          <p:cNvPr id="5" name="Imagen 4" descr="Imagen que contiene Logotipo&#10;&#10;Descripción generada automáticamente">
            <a:extLst>
              <a:ext uri="{FF2B5EF4-FFF2-40B4-BE49-F238E27FC236}">
                <a16:creationId xmlns:a16="http://schemas.microsoft.com/office/drawing/2014/main" id="{6AF5D2E4-DD53-C9D6-C449-93FE6B0F5C1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0800000">
            <a:off x="5064939" y="5809081"/>
            <a:ext cx="7110930" cy="1060175"/>
          </a:xfrm>
          <a:prstGeom prst="rect">
            <a:avLst/>
          </a:prstGeom>
        </p:spPr>
      </p:pic>
      <p:sp>
        <p:nvSpPr>
          <p:cNvPr id="9" name="Rectángulo: esquinas redondeadas 8">
            <a:extLst>
              <a:ext uri="{FF2B5EF4-FFF2-40B4-BE49-F238E27FC236}">
                <a16:creationId xmlns:a16="http://schemas.microsoft.com/office/drawing/2014/main" id="{94977AD1-52AA-E6D7-AEE6-5F82632CFF68}"/>
              </a:ext>
            </a:extLst>
          </p:cNvPr>
          <p:cNvSpPr/>
          <p:nvPr/>
        </p:nvSpPr>
        <p:spPr>
          <a:xfrm>
            <a:off x="160284" y="4133887"/>
            <a:ext cx="11827094" cy="791777"/>
          </a:xfrm>
          <a:prstGeom prst="roundRect">
            <a:avLst/>
          </a:prstGeom>
          <a:noFill/>
          <a:ln w="19050">
            <a:solidFill>
              <a:srgbClr val="7030A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0" name="CuadroTexto 9">
            <a:extLst>
              <a:ext uri="{FF2B5EF4-FFF2-40B4-BE49-F238E27FC236}">
                <a16:creationId xmlns:a16="http://schemas.microsoft.com/office/drawing/2014/main" id="{E141B9D2-B4C6-26CA-A117-BA874C165E1D}"/>
              </a:ext>
            </a:extLst>
          </p:cNvPr>
          <p:cNvSpPr txBox="1"/>
          <p:nvPr/>
        </p:nvSpPr>
        <p:spPr>
          <a:xfrm>
            <a:off x="275518" y="3860607"/>
            <a:ext cx="1480792" cy="338554"/>
          </a:xfrm>
          <a:prstGeom prst="rect">
            <a:avLst/>
          </a:prstGeom>
          <a:solidFill>
            <a:schemeClr val="bg1"/>
          </a:solidFill>
        </p:spPr>
        <p:txBody>
          <a:bodyPr wrap="square" rtlCol="0">
            <a:spAutoFit/>
          </a:bodyPr>
          <a:lstStyle/>
          <a:p>
            <a:r>
              <a:rPr lang="es-ES" sz="1600" b="1" dirty="0">
                <a:solidFill>
                  <a:srgbClr val="7030A0"/>
                </a:solidFill>
              </a:rPr>
              <a:t>LINEAMIENTOS</a:t>
            </a:r>
            <a:endParaRPr lang="es-PE" sz="1600" b="1" dirty="0">
              <a:solidFill>
                <a:srgbClr val="7030A0"/>
              </a:solidFill>
            </a:endParaRPr>
          </a:p>
        </p:txBody>
      </p:sp>
      <p:sp>
        <p:nvSpPr>
          <p:cNvPr id="19" name="CuadroTexto 18">
            <a:extLst>
              <a:ext uri="{FF2B5EF4-FFF2-40B4-BE49-F238E27FC236}">
                <a16:creationId xmlns:a16="http://schemas.microsoft.com/office/drawing/2014/main" id="{AD963246-FAC9-8F7B-6B70-AAEB80013DB5}"/>
              </a:ext>
            </a:extLst>
          </p:cNvPr>
          <p:cNvSpPr txBox="1"/>
          <p:nvPr/>
        </p:nvSpPr>
        <p:spPr>
          <a:xfrm>
            <a:off x="5807856" y="6425443"/>
            <a:ext cx="6368013" cy="430887"/>
          </a:xfrm>
          <a:prstGeom prst="rect">
            <a:avLst/>
          </a:prstGeom>
          <a:noFill/>
        </p:spPr>
        <p:txBody>
          <a:bodyPr wrap="square" lIns="91440" tIns="45720" rIns="91440" bIns="45720" rtlCol="0" anchor="t">
            <a:spAutoFit/>
          </a:bodyPr>
          <a:lstStyle/>
          <a:p>
            <a:r>
              <a:rPr lang="es-ES" sz="1100" b="1" dirty="0"/>
              <a:t>Doc. De Referencia: </a:t>
            </a:r>
            <a:r>
              <a:rPr lang="pt-BR" sz="1100" b="1" dirty="0"/>
              <a:t>DG-POL-PCAMA-MINS-001-Política Corporativo de </a:t>
            </a:r>
            <a:r>
              <a:rPr lang="pt-BR" sz="1100" b="1" dirty="0" err="1"/>
              <a:t>Arquitectura</a:t>
            </a:r>
            <a:r>
              <a:rPr lang="pt-BR" sz="1100" b="1" dirty="0"/>
              <a:t> y </a:t>
            </a:r>
            <a:r>
              <a:rPr lang="pt-BR" sz="1100" b="1" dirty="0" err="1"/>
              <a:t>Metadata</a:t>
            </a:r>
            <a:r>
              <a:rPr lang="pt-BR" sz="1100" b="1" dirty="0"/>
              <a:t> Analítica (</a:t>
            </a:r>
            <a:r>
              <a:rPr lang="pt-BR" sz="1100" b="1" dirty="0" err="1"/>
              <a:t>Datalake</a:t>
            </a:r>
            <a:r>
              <a:rPr lang="pt-BR" sz="1100" b="1" dirty="0"/>
              <a:t>, </a:t>
            </a:r>
            <a:r>
              <a:rPr lang="pt-BR" sz="1100" b="1" dirty="0" err="1"/>
              <a:t>Deltalake</a:t>
            </a:r>
            <a:r>
              <a:rPr lang="pt-BR" sz="1100" b="1" dirty="0"/>
              <a:t>, </a:t>
            </a:r>
            <a:r>
              <a:rPr lang="pt-BR" sz="1100" b="1" dirty="0" err="1"/>
              <a:t>UnityCatalog</a:t>
            </a:r>
            <a:r>
              <a:rPr lang="pt-BR" sz="1100" b="1" dirty="0"/>
              <a:t>, </a:t>
            </a:r>
            <a:r>
              <a:rPr lang="pt-BR" sz="1100" b="1" dirty="0" err="1"/>
              <a:t>Metadata</a:t>
            </a:r>
            <a:r>
              <a:rPr lang="pt-BR" sz="1100" b="1" dirty="0"/>
              <a:t> </a:t>
            </a:r>
            <a:r>
              <a:rPr lang="pt-BR" sz="1100" b="1" dirty="0" err="1"/>
              <a:t>driven</a:t>
            </a:r>
            <a:r>
              <a:rPr lang="pt-BR" sz="1100" b="1" dirty="0"/>
              <a:t>)</a:t>
            </a:r>
            <a:endParaRPr lang="es-ES" sz="1100" b="1" dirty="0">
              <a:ea typeface="Calibri"/>
              <a:cs typeface="Calibri"/>
            </a:endParaRPr>
          </a:p>
        </p:txBody>
      </p:sp>
    </p:spTree>
    <p:extLst>
      <p:ext uri="{BB962C8B-B14F-4D97-AF65-F5344CB8AC3E}">
        <p14:creationId xmlns:p14="http://schemas.microsoft.com/office/powerpoint/2010/main" val="27295188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2PZ66rt0prJnL0GtCWbg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2PZ66rt0prJnL0GtCWbg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2PZ66rt0prJnL0GtCWbg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2PZ66rt0prJnL0GtCWbg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2PZ66rt0prJnL0GtCWbg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2PZ66rt0prJnL0GtCWbg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F2PZ66rt0prJnL0GtCWbg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2PZ66rt0prJnL0GtCWbg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F2PZ66rt0prJnL0GtCWbg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2PZ66rt0prJnL0GtCWbg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2PZ66rt0prJnL0GtCWbg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2PZ66rt0prJnL0GtCWbg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2PZ66rt0prJnL0GtCWbg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F2PZ66rt0prJnL0GtCWbg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2PZ66rt0prJnL0GtCWbg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2PZ66rt0prJnL0GtCWbg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9174b5fe-6599-4e9e-a18f-5ed19a7b6673" xsi:nil="true"/>
    <lcf76f155ced4ddcb4097134ff3c332f xmlns="5d69170b-65f8-4f3f-948a-d1f2959f1d5e">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o" ma:contentTypeID="0x0101005C32AB3185464744A5CBA823000467AB" ma:contentTypeVersion="17" ma:contentTypeDescription="Crear nuevo documento." ma:contentTypeScope="" ma:versionID="283307e6e49f19e01980e3ef1e097134">
  <xsd:schema xmlns:xsd="http://www.w3.org/2001/XMLSchema" xmlns:xs="http://www.w3.org/2001/XMLSchema" xmlns:p="http://schemas.microsoft.com/office/2006/metadata/properties" xmlns:ns2="5d69170b-65f8-4f3f-948a-d1f2959f1d5e" xmlns:ns3="9174b5fe-6599-4e9e-a18f-5ed19a7b6673" targetNamespace="http://schemas.microsoft.com/office/2006/metadata/properties" ma:root="true" ma:fieldsID="64b5c36ba5868d20ddec6e8383b8be25" ns2:_="" ns3:_="">
    <xsd:import namespace="5d69170b-65f8-4f3f-948a-d1f2959f1d5e"/>
    <xsd:import namespace="9174b5fe-6599-4e9e-a18f-5ed19a7b667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EventHashCode" minOccurs="0"/>
                <xsd:element ref="ns2:MediaServiceGenerationTime" minOccurs="0"/>
                <xsd:element ref="ns2:MediaServiceDateTaken" minOccurs="0"/>
                <xsd:element ref="ns2:MediaServiceAutoTags" minOccurs="0"/>
                <xsd:element ref="ns2:MediaServiceOCR" minOccurs="0"/>
                <xsd:element ref="ns2:MediaServiceAutoKeyPoints" minOccurs="0"/>
                <xsd:element ref="ns2:MediaServiceKeyPoints" minOccurs="0"/>
                <xsd:element ref="ns2:MediaLengthInSeconds" minOccurs="0"/>
                <xsd:element ref="ns2:MediaServiceSearchProperties" minOccurs="0"/>
                <xsd:element ref="ns2:MediaServiceObjectDetectorVersion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d69170b-65f8-4f3f-948a-d1f2959f1d5e"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lcf76f155ced4ddcb4097134ff3c332f" ma:index="23" nillable="true" ma:taxonomy="true" ma:internalName="lcf76f155ced4ddcb4097134ff3c332f" ma:taxonomyFieldName="MediaServiceImageTags" ma:displayName="Etiquetas de imagen" ma:readOnly="false" ma:fieldId="{5cf76f15-5ced-4ddc-b409-7134ff3c332f}" ma:taxonomyMulti="true" ma:sspId="0ff2c348-b4ee-425a-a4b2-8713acf06dec"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174b5fe-6599-4e9e-a18f-5ed19a7b6673" elementFormDefault="qualified">
    <xsd:import namespace="http://schemas.microsoft.com/office/2006/documentManagement/types"/>
    <xsd:import namespace="http://schemas.microsoft.com/office/infopath/2007/PartnerControls"/>
    <xsd:element name="SharedWithUsers" ma:index="10" nillable="true" ma:displayName="Compartido con"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talles de uso compartido" ma:description="" ma:internalName="SharedWithDetails" ma:readOnly="true">
      <xsd:simpleType>
        <xsd:restriction base="dms:Note">
          <xsd:maxLength value="255"/>
        </xsd:restriction>
      </xsd:simpleType>
    </xsd:element>
    <xsd:element name="TaxCatchAll" ma:index="24" nillable="true" ma:displayName="Taxonomy Catch All Column" ma:hidden="true" ma:list="{1ea7b941-3f18-44d6-ae8a-fe5b816ff224}" ma:internalName="TaxCatchAll" ma:showField="CatchAllData" ma:web="9174b5fe-6599-4e9e-a18f-5ed19a7b667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9E8D445-7787-40D8-8A5F-7DCD576C8674}">
  <ds:schemaRefs>
    <ds:schemaRef ds:uri="http://schemas.microsoft.com/sharepoint/v3/contenttype/forms"/>
  </ds:schemaRefs>
</ds:datastoreItem>
</file>

<file path=customXml/itemProps2.xml><?xml version="1.0" encoding="utf-8"?>
<ds:datastoreItem xmlns:ds="http://schemas.openxmlformats.org/officeDocument/2006/customXml" ds:itemID="{10AE27A4-F032-4003-88B3-5CC939B45B99}">
  <ds:schemaRefs>
    <ds:schemaRef ds:uri="http://schemas.microsoft.com/office/2006/metadata/properties"/>
    <ds:schemaRef ds:uri="http://schemas.microsoft.com/office/infopath/2007/PartnerControls"/>
    <ds:schemaRef ds:uri="9174b5fe-6599-4e9e-a18f-5ed19a7b6673"/>
    <ds:schemaRef ds:uri="5d69170b-65f8-4f3f-948a-d1f2959f1d5e"/>
  </ds:schemaRefs>
</ds:datastoreItem>
</file>

<file path=customXml/itemProps3.xml><?xml version="1.0" encoding="utf-8"?>
<ds:datastoreItem xmlns:ds="http://schemas.openxmlformats.org/officeDocument/2006/customXml" ds:itemID="{56C41940-171F-4E2F-ADC7-26FC9D8D6AC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d69170b-65f8-4f3f-948a-d1f2959f1d5e"/>
    <ds:schemaRef ds:uri="9174b5fe-6599-4e9e-a18f-5ed19a7b667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696</TotalTime>
  <Words>2187</Words>
  <Application>Microsoft Office PowerPoint</Application>
  <PresentationFormat>Panorámica</PresentationFormat>
  <Paragraphs>368</Paragraphs>
  <Slides>24</Slides>
  <Notes>21</Notes>
  <HiddenSlides>0</HiddenSlides>
  <MMClips>0</MMClips>
  <ScaleCrop>false</ScaleCrop>
  <HeadingPairs>
    <vt:vector size="4" baseType="variant">
      <vt:variant>
        <vt:lpstr>Tema</vt:lpstr>
      </vt:variant>
      <vt:variant>
        <vt:i4>1</vt:i4>
      </vt:variant>
      <vt:variant>
        <vt:lpstr>Títulos de diapositiva</vt:lpstr>
      </vt:variant>
      <vt:variant>
        <vt:i4>24</vt:i4>
      </vt:variant>
    </vt:vector>
  </HeadingPairs>
  <TitlesOfParts>
    <vt:vector size="25" baseType="lpstr">
      <vt:lpstr>Tema de Office</vt:lpstr>
      <vt:lpstr> LINEAMIENTOS PARA NUEVA ARQUITECTURA ANALÍTICA</vt:lpstr>
      <vt:lpstr>Presentación de PowerPoint</vt:lpstr>
      <vt:lpstr>Presentación de PowerPoint</vt:lpstr>
      <vt:lpstr>Presentación de PowerPoint</vt:lpstr>
      <vt:lpstr>Presentación de PowerPoint</vt:lpstr>
      <vt:lpstr> Gobierno del Dato </vt:lpstr>
      <vt:lpstr>Lineamientos de Gobierno del Dato</vt:lpstr>
      <vt:lpstr> Arquitectura y Metadata Analítica </vt:lpstr>
      <vt:lpstr>Presentación de PowerPoint</vt:lpstr>
      <vt:lpstr>Lineamientos Metada Driven</vt:lpstr>
      <vt:lpstr>Lineamientos Unity Catalog</vt:lpstr>
      <vt:lpstr>Procedimiento para Accesos a Unity Catalog</vt:lpstr>
      <vt:lpstr> Calidad del Dato </vt:lpstr>
      <vt:lpstr>Presentación de PowerPoint</vt:lpstr>
      <vt:lpstr>Presentación de PowerPoint</vt:lpstr>
      <vt:lpstr>Presentación de PowerPoint</vt:lpstr>
      <vt:lpstr>Presentación de PowerPoint</vt:lpstr>
      <vt:lpstr> Seguridad del Dato </vt:lpstr>
      <vt:lpstr>Clasificación de Seguridad</vt:lpstr>
      <vt:lpstr>Presentación de PowerPoint</vt:lpstr>
      <vt:lpstr>Presentación de PowerPoint</vt:lpstr>
      <vt:lpstr>Guía Resumen – Participación de Usuario</vt:lpstr>
      <vt:lpstr>Presentación de PowerPoint</vt:lpstr>
      <vt:lpstr>Gracia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UE BDO CONSULTING 21</dc:creator>
  <cp:lastModifiedBy>UE BDO CONSULTING 21</cp:lastModifiedBy>
  <cp:revision>45</cp:revision>
  <dcterms:created xsi:type="dcterms:W3CDTF">2025-08-26T20:29:35Z</dcterms:created>
  <dcterms:modified xsi:type="dcterms:W3CDTF">2025-09-17T14:30: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C32AB3185464744A5CBA823000467AB</vt:lpwstr>
  </property>
  <property fmtid="{D5CDD505-2E9C-101B-9397-08002B2CF9AE}" pid="3" name="MediaServiceImageTags">
    <vt:lpwstr/>
  </property>
</Properties>
</file>